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4"/>
    <p:sldMasterId id="2147483778" r:id="rId5"/>
    <p:sldMasterId id="2147483805" r:id="rId6"/>
    <p:sldMasterId id="2147483821" r:id="rId7"/>
    <p:sldMasterId id="2147483828" r:id="rId8"/>
  </p:sldMasterIdLst>
  <p:notesMasterIdLst>
    <p:notesMasterId r:id="rId32"/>
  </p:notesMasterIdLst>
  <p:handoutMasterIdLst>
    <p:handoutMasterId r:id="rId33"/>
  </p:handoutMasterIdLst>
  <p:sldIdLst>
    <p:sldId id="256" r:id="rId9"/>
    <p:sldId id="2145706164" r:id="rId10"/>
    <p:sldId id="259" r:id="rId11"/>
    <p:sldId id="2145706162" r:id="rId12"/>
    <p:sldId id="2145706159" r:id="rId13"/>
    <p:sldId id="2145706163" r:id="rId14"/>
    <p:sldId id="273" r:id="rId15"/>
    <p:sldId id="1992" r:id="rId16"/>
    <p:sldId id="2494" r:id="rId17"/>
    <p:sldId id="260" r:id="rId18"/>
    <p:sldId id="278" r:id="rId19"/>
    <p:sldId id="280" r:id="rId20"/>
    <p:sldId id="281" r:id="rId21"/>
    <p:sldId id="2489" r:id="rId22"/>
    <p:sldId id="2145706161" r:id="rId23"/>
    <p:sldId id="293" r:id="rId24"/>
    <p:sldId id="2490" r:id="rId25"/>
    <p:sldId id="1994" r:id="rId26"/>
    <p:sldId id="287" r:id="rId27"/>
    <p:sldId id="276" r:id="rId28"/>
    <p:sldId id="2495" r:id="rId29"/>
    <p:sldId id="2145706160" r:id="rId30"/>
    <p:sldId id="2493" r:id="rId3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DSY Slides" id="{93804523-D1D5-4400-8EBE-B53BB78BA199}">
          <p14:sldIdLst>
            <p14:sldId id="256"/>
            <p14:sldId id="2145706164"/>
            <p14:sldId id="259"/>
            <p14:sldId id="2145706162"/>
            <p14:sldId id="2145706159"/>
            <p14:sldId id="2145706163"/>
            <p14:sldId id="273"/>
            <p14:sldId id="1992"/>
            <p14:sldId id="2494"/>
            <p14:sldId id="260"/>
            <p14:sldId id="278"/>
            <p14:sldId id="280"/>
            <p14:sldId id="281"/>
            <p14:sldId id="2489"/>
            <p14:sldId id="2145706161"/>
            <p14:sldId id="293"/>
            <p14:sldId id="2490"/>
            <p14:sldId id="1994"/>
            <p14:sldId id="287"/>
            <p14:sldId id="276"/>
            <p14:sldId id="2495"/>
            <p14:sldId id="2145706160"/>
            <p14:sldId id="2493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5EF59E72-D9BA-600B-BF23-258C3C2F1181}" name="Wilborn-Nieto, Andrea" initials="WA" userId="S::andrea.nieto@tea.texas.gov::561cc4e6-4a43-4d38-8fc8-98a0487015e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tlett, Emma" initials="CE" lastIdx="39" clrIdx="0">
    <p:extLst>
      <p:ext uri="{19B8F6BF-5375-455C-9EA6-DF929625EA0E}">
        <p15:presenceInfo xmlns:p15="http://schemas.microsoft.com/office/powerpoint/2012/main" userId="S::Emma.Catlett@tea.texas.gov::602bba41-4c75-41f2-9730-24d2f1527b8f" providerId="AD"/>
      </p:ext>
    </p:extLst>
  </p:cmAuthor>
  <p:cmAuthor id="2" name="Aguirre, Jennifer" initials="AJ" lastIdx="3" clrIdx="1">
    <p:extLst>
      <p:ext uri="{19B8F6BF-5375-455C-9EA6-DF929625EA0E}">
        <p15:presenceInfo xmlns:p15="http://schemas.microsoft.com/office/powerpoint/2012/main" userId="S::jennifer.aguirre@tea.texas.gov::e2ae6775-8ad8-4eb8-b2e9-556bc9ca65f4" providerId="AD"/>
      </p:ext>
    </p:extLst>
  </p:cmAuthor>
  <p:cmAuthor id="3" name="Simons, Elia" initials="SE" lastIdx="6" clrIdx="2">
    <p:extLst>
      <p:ext uri="{19B8F6BF-5375-455C-9EA6-DF929625EA0E}">
        <p15:presenceInfo xmlns:p15="http://schemas.microsoft.com/office/powerpoint/2012/main" userId="S::Elia.Simons@tea.texas.gov::01c9be67-7802-49c3-af98-98f1614866e7" providerId="AD"/>
      </p:ext>
    </p:extLst>
  </p:cmAuthor>
  <p:cmAuthor id="4" name="Macedonio, Shaelyn" initials="MS" lastIdx="2" clrIdx="3">
    <p:extLst>
      <p:ext uri="{19B8F6BF-5375-455C-9EA6-DF929625EA0E}">
        <p15:presenceInfo xmlns:p15="http://schemas.microsoft.com/office/powerpoint/2012/main" userId="S::Shaelyn.Macedonio@tea.texas.gov::112b655a-fc7c-4df7-8537-09901821b20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518B"/>
    <a:srgbClr val="D93C10"/>
    <a:srgbClr val="4472C4"/>
    <a:srgbClr val="FFFFFF"/>
    <a:srgbClr val="E7E6E6"/>
    <a:srgbClr val="F2F2F2"/>
    <a:srgbClr val="0D6CB9"/>
    <a:srgbClr val="F1603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2594195-0708-4572-ADB7-D0CA3B663688}" v="26" dt="2022-07-28T21:29:13.17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5386" autoAdjust="0"/>
    <p:restoredTop sz="96283" autoAdjust="0"/>
  </p:normalViewPr>
  <p:slideViewPr>
    <p:cSldViewPr snapToGrid="0">
      <p:cViewPr varScale="1">
        <p:scale>
          <a:sx n="98" d="100"/>
          <a:sy n="98" d="100"/>
        </p:scale>
        <p:origin x="108" y="10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4" d="100"/>
          <a:sy n="84" d="100"/>
        </p:scale>
        <p:origin x="3828" y="9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handoutMaster" Target="handoutMasters/handoutMaster1.xml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notesMaster" Target="notesMasters/notesMaster1.xml"/><Relationship Id="rId37" Type="http://schemas.openxmlformats.org/officeDocument/2006/relationships/theme" Target="theme/theme1.xml"/><Relationship Id="rId40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viewProps" Target="viewProps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F646939-4925-4C47-B3D4-FCBF08D88DD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6BEA144-1EA3-4457-8E8D-74112FEA754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B88741B-0206-4660-98BF-C185264ED2CF}" type="datetimeFigureOut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3492EE1-CF2F-4D3F-ADE6-279E6DD9283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947AA4B-61F7-48B8-8D3C-8720D20E62C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9146C9-C3A3-46F8-8466-4743D879325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7432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0D5E38-04D7-4CC0-AF82-3E5D8CB519DD}" type="datetimeFigureOut">
              <a:rPr lang="en-US" smtClean="0"/>
              <a:t>7/2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4D9ABE-7AB9-4D3A-BEA5-45E799BD6C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21768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" name="Google Shape;466;g7a1d893107_0_3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67" name="Google Shape;467;g7a1d893107_0_3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8" name="Google Shape;468;g7a1d893107_0_38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36171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6053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45524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E4D9ABE-7AB9-4D3A-BEA5-45E799BD6C0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395899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8" name="Google Shape;458;g7a1d893107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59" name="Google Shape;459;g7a1d893107_0_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60" name="Google Shape;460;g7a1d893107_0_2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494447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6" y="1285424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6602" y="1304642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51B1845-A6C7-4AC2-B620-167676934130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0B00A02-8675-4160-8176-EDCBB7DF4D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476" y="153230"/>
            <a:ext cx="10973642" cy="7513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8884765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9519495-2D32-4D4E-8F3F-FCF9D9FBC5C2}"/>
              </a:ext>
            </a:extLst>
          </p:cNvPr>
          <p:cNvSpPr/>
          <p:nvPr userDrawn="1"/>
        </p:nvSpPr>
        <p:spPr>
          <a:xfrm>
            <a:off x="6316602" y="1285424"/>
            <a:ext cx="5269515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A19F0A-7B48-493C-B0E2-4453EB0E5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1251DB-602C-4641-BC89-F6C2134B9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35ED5-2481-43CA-B484-84F01BE7BCAB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EA3DCB-517D-4D4C-B87F-1B90D6908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15C024-99A2-414A-9E84-471B1D5347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E2E14A-B607-462F-AF55-A2C40E568568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D2AC0647-D236-4D87-99A7-66626B163A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F4CD0FD-24B2-4EB8-9EB2-2EE15DAD2E73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D839CB-DBF3-46E9-B1EB-DA76E4CAE8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5" y="1285424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EDE6A2A-0CCE-4F58-B3CD-B767A786913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6602" y="1304642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95955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D5401-2B8D-4E62-9FB6-C631CC3E4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B1E0B6-F5C0-4816-A4FE-AC6BE61FC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B68D5-5086-4373-9404-91C89D031447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441905-62F9-4943-8113-75BDA0125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2792EC-9876-42F6-B749-1AD876DE2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707F44-377B-41C7-BC2D-4996B3F40A9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2E7CC3FA-F1FE-4D55-921A-E5F8CC303A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52CDE914-26A2-46BF-B786-29CDEFF56F83}"/>
              </a:ext>
            </a:extLst>
          </p:cNvPr>
          <p:cNvGrpSpPr/>
          <p:nvPr userDrawn="1"/>
        </p:nvGrpSpPr>
        <p:grpSpPr>
          <a:xfrm>
            <a:off x="663269" y="2403028"/>
            <a:ext cx="10913380" cy="2038492"/>
            <a:chOff x="333375" y="2390134"/>
            <a:chExt cx="11439523" cy="203849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2D51E0-0288-46B5-AE8E-53B44B6D62AF}"/>
                </a:ext>
              </a:extLst>
            </p:cNvPr>
            <p:cNvSpPr/>
            <p:nvPr userDrawn="1"/>
          </p:nvSpPr>
          <p:spPr>
            <a:xfrm>
              <a:off x="333375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9EAD7DC-28F3-4058-8BF9-9CCB5B38FD9F}"/>
                </a:ext>
              </a:extLst>
            </p:cNvPr>
            <p:cNvSpPr/>
            <p:nvPr userDrawn="1"/>
          </p:nvSpPr>
          <p:spPr>
            <a:xfrm>
              <a:off x="2643187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6FDF40-9136-4811-8E07-6B0AB0C46023}"/>
                </a:ext>
              </a:extLst>
            </p:cNvPr>
            <p:cNvSpPr/>
            <p:nvPr userDrawn="1"/>
          </p:nvSpPr>
          <p:spPr>
            <a:xfrm>
              <a:off x="4952999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719EA0-55BB-4503-BDA7-B64041373181}"/>
                </a:ext>
              </a:extLst>
            </p:cNvPr>
            <p:cNvSpPr/>
            <p:nvPr userDrawn="1"/>
          </p:nvSpPr>
          <p:spPr>
            <a:xfrm>
              <a:off x="7262811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1B4587-442C-4C19-9102-6B375D1AE6CC}"/>
                </a:ext>
              </a:extLst>
            </p:cNvPr>
            <p:cNvSpPr/>
            <p:nvPr userDrawn="1"/>
          </p:nvSpPr>
          <p:spPr>
            <a:xfrm>
              <a:off x="9572623" y="3223291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610EEBE-DF4B-4657-A9ED-7CEED2CD42C0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428749" y="2390136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34ECB64-BDB2-4525-9A82-3F8E50C4AF7B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736180" y="3681599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5E310C2-927E-4696-9D30-45A2F7D7A37E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6048373" y="2390135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E6C4E8C-06AF-499C-9A9B-759448E9F026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336753" y="3681598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938570-D807-4324-871B-DDDF5998AE7E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563224" y="2390134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791FF2-B5BD-4E56-B492-F87BD97E08A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19619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A66B1-38B5-4C87-96BA-DAE4850DD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938B8B-7CA6-4C10-8CB4-361CAF61F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957E-7900-4B87-81CB-984FF3C74C4A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8F1B-89EA-4905-B352-8320B1105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A905E8-F69E-4262-B535-CD4DA56E4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118EE46-1E16-4835-B6B8-8C79AA037EA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53BF80DF-8F0C-46FA-B82A-59C923970F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961C567B-65AA-46AA-89E3-42CC6B462E22}"/>
              </a:ext>
            </a:extLst>
          </p:cNvPr>
          <p:cNvSpPr/>
          <p:nvPr userDrawn="1"/>
        </p:nvSpPr>
        <p:spPr>
          <a:xfrm>
            <a:off x="6619971" y="1260001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0A31A204-7316-4569-8F2B-7AC66C5A35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19971" y="1260001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8C3D0C8-4161-41B3-86DB-B24AD82509C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55695FD-5C94-4F47-84E1-2C0637C5D096}"/>
              </a:ext>
            </a:extLst>
          </p:cNvPr>
          <p:cNvSpPr/>
          <p:nvPr userDrawn="1"/>
        </p:nvSpPr>
        <p:spPr>
          <a:xfrm>
            <a:off x="612475" y="1260001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6DD64ACB-D732-45F1-B21B-19B1192457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475" y="1260001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3089159-ACBB-4B4F-9A5B-9BE3C718A26B}"/>
              </a:ext>
            </a:extLst>
          </p:cNvPr>
          <p:cNvSpPr/>
          <p:nvPr userDrawn="1"/>
        </p:nvSpPr>
        <p:spPr>
          <a:xfrm>
            <a:off x="6619971" y="3645410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87DEB579-3DE1-43EC-8F40-AA22690697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19971" y="3645410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8AA8C2A-FFAC-4EEB-A9C8-443AC7422034}"/>
              </a:ext>
            </a:extLst>
          </p:cNvPr>
          <p:cNvSpPr/>
          <p:nvPr userDrawn="1"/>
        </p:nvSpPr>
        <p:spPr>
          <a:xfrm>
            <a:off x="612475" y="3645410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8AA23CB-5CA2-46D7-96A2-380D3A4BAB9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2475" y="3645410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5742688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30697B-5DD2-4D82-910C-A95C63D48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AFCB6B-D8B4-4142-98BB-27E212883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88BF4-DA46-495C-932E-DA28E9DC3812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A7A0E0-DF61-4449-A131-7A5AFB215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A04B79-6E78-4608-A987-7B436929E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867113-0346-4133-971E-2FA69106B086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CCABB91-9E8D-48A4-9D54-FAF1626653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37DBFE-B412-48BE-AF65-801B66957FE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9217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66D2F3-544F-4F0E-8531-29BF9F3BB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CA3AB-E99D-46BD-BC3E-4F621A3811BD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7CB4D3-E7BC-4997-A9E3-8A55F1851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4230D4-FBDC-455E-BEBA-62F5CA1A8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9001B8-31F1-4A6D-B5AC-6902FC1CFCD2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C7617E6-FB51-4CDB-A2DB-103DD65AC4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3B269AE-F12A-4446-AB5C-3392E87A1731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46005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0C7F4B-F16F-4266-8C5D-7C00B98DA8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4F22DFD-E80A-48BE-BA41-D2F354629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EA79F37-25BC-411B-899B-DC452FCB5673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5776FD-5499-4C8D-89EF-5F00371E12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18574-E76E-433F-A485-A06E18EF84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14">
            <a:extLst>
              <a:ext uri="{FF2B5EF4-FFF2-40B4-BE49-F238E27FC236}">
                <a16:creationId xmlns:a16="http://schemas.microsoft.com/office/drawing/2014/main" id="{F9E2D255-4AA0-4DA6-89CA-0834E2DFCD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5614" y="1285422"/>
            <a:ext cx="935103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lvl="0" indent="0"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  <a:p>
            <a:pPr lvl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Second level</a:t>
            </a:r>
          </a:p>
          <a:p>
            <a:pPr lvl="2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Third level</a:t>
            </a:r>
          </a:p>
          <a:p>
            <a:pPr lvl="3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Fourth level</a:t>
            </a:r>
          </a:p>
          <a:p>
            <a:pPr lvl="4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308603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FB86D1-2D9F-4630-9A54-7C515B331F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7C31998-2DCE-4A98-AB63-037D1DAF23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vert="horz" lIns="91440" tIns="45720" rIns="91440" bIns="45720" rtlCol="0" anchor="ctr"/>
          <a:lstStyle>
            <a:lvl1pPr>
              <a:defRPr lang="en-US" smtClean="0"/>
            </a:lvl1pPr>
          </a:lstStyle>
          <a:p>
            <a:fld id="{3FB71939-3604-4775-AABE-2BBD6D7D4C97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C06D624-D105-4D25-A6C9-F71DEC2483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D1CAA7-650B-487B-A7FB-BDC9092031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E57DDF72-EC76-4434-A08B-1A204B3C21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5611" y="1285424"/>
            <a:ext cx="9351035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32665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A59CD3-1148-4660-AEBC-7C4C826DAA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B73A383-2B83-47F3-995E-EDEA23EDA3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5615" y="1285424"/>
            <a:ext cx="5348376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0C3DC10-8E04-481D-84B2-9AFDA48443A9}"/>
              </a:ext>
            </a:extLst>
          </p:cNvPr>
          <p:cNvSpPr/>
          <p:nvPr userDrawn="1"/>
        </p:nvSpPr>
        <p:spPr>
          <a:xfrm>
            <a:off x="7719237" y="1285424"/>
            <a:ext cx="3855730" cy="456156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5B95BEA0-62D2-4165-A2C5-FD02BAFBF36F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719237" y="1285424"/>
            <a:ext cx="3855730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30E2B71-C090-42F2-A041-83CF930880B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0153011E-DA8A-4A83-8632-23C3DDA5F7B4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47A48DB7-256D-4C28-A977-F93F4134B20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DEE62A-2302-4E03-9ADC-32A70EDED6D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79636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Placeholder 13">
            <a:extLst>
              <a:ext uri="{FF2B5EF4-FFF2-40B4-BE49-F238E27FC236}">
                <a16:creationId xmlns:a16="http://schemas.microsoft.com/office/drawing/2014/main" id="{068A0C29-B42F-479B-8BF0-65819649C4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 dirty="0"/>
              <a:t>Click to add hea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9C6F040-95A9-4A46-AB03-7F92799E57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2058C4-0E35-431E-999C-694AD618ACD6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7E68FA-9000-4D4A-9793-1421F0CB9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DC68F05-5855-411F-912D-61291D754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52442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6131612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B39B8B1-989C-492F-8900-5A06C91C0A71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fld id="{0230FC28-7BEB-4759-BBA2-729E2C225A4A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E6A169-9321-4D6D-BFDA-63A871AFE531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B4BC196-E994-40AC-B5DC-6692E88E922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itle Placeholder 13">
            <a:extLst>
              <a:ext uri="{FF2B5EF4-FFF2-40B4-BE49-F238E27FC236}">
                <a16:creationId xmlns:a16="http://schemas.microsoft.com/office/drawing/2014/main" id="{B97CDDD7-5250-4E76-BC5E-C838F4DAAE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 dirty="0"/>
              <a:t>Click to add header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3A74E102-04DC-40C0-BAB9-244B885AD68C}"/>
              </a:ext>
            </a:extLst>
          </p:cNvPr>
          <p:cNvSpPr/>
          <p:nvPr userDrawn="1"/>
        </p:nvSpPr>
        <p:spPr>
          <a:xfrm>
            <a:off x="7129290" y="1518086"/>
            <a:ext cx="44473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 Placeholder 12">
            <a:extLst>
              <a:ext uri="{FF2B5EF4-FFF2-40B4-BE49-F238E27FC236}">
                <a16:creationId xmlns:a16="http://schemas.microsoft.com/office/drawing/2014/main" id="{545BCE5C-8A8F-4B1F-B1B0-2D2DB27BEF1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27748" y="1518086"/>
            <a:ext cx="4439093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0E5DBC6-9EC1-4884-9587-1170A41C7602}"/>
              </a:ext>
            </a:extLst>
          </p:cNvPr>
          <p:cNvSpPr/>
          <p:nvPr userDrawn="1"/>
        </p:nvSpPr>
        <p:spPr>
          <a:xfrm>
            <a:off x="2227156" y="1518086"/>
            <a:ext cx="44473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Text Placeholder 12">
            <a:extLst>
              <a:ext uri="{FF2B5EF4-FFF2-40B4-BE49-F238E27FC236}">
                <a16:creationId xmlns:a16="http://schemas.microsoft.com/office/drawing/2014/main" id="{894C1613-5325-4C87-AA5B-F2F44A97816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225614" y="1518086"/>
            <a:ext cx="4439093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E33946A-1CF0-4369-8472-1B6383135F3E}"/>
              </a:ext>
            </a:extLst>
          </p:cNvPr>
          <p:cNvSpPr/>
          <p:nvPr userDrawn="1"/>
        </p:nvSpPr>
        <p:spPr>
          <a:xfrm>
            <a:off x="7129290" y="3903495"/>
            <a:ext cx="44473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F893FA83-8CE9-41D9-9686-7E2C0A18AB1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127748" y="3903495"/>
            <a:ext cx="4439093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2FDE8A9-850C-42A2-9B75-90655F4B3B07}"/>
              </a:ext>
            </a:extLst>
          </p:cNvPr>
          <p:cNvSpPr/>
          <p:nvPr userDrawn="1"/>
        </p:nvSpPr>
        <p:spPr>
          <a:xfrm>
            <a:off x="2227156" y="3903495"/>
            <a:ext cx="44473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1DEF6BC6-DFEF-4087-9A5C-9C97573CD73D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225614" y="3903495"/>
            <a:ext cx="4439093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29276416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Placeholder 13">
            <a:extLst>
              <a:ext uri="{FF2B5EF4-FFF2-40B4-BE49-F238E27FC236}">
                <a16:creationId xmlns:a16="http://schemas.microsoft.com/office/drawing/2014/main" id="{A234570C-19A5-4EE1-8C42-F2EDEA021B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 dirty="0"/>
              <a:t>Click to add hea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700C37-A54E-4256-869C-20B15E19D9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231F8F-1192-4FD9-934F-56D826F38C8F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04E379-532F-4EEB-A01A-E545DB166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6425414-8EBD-4007-B23F-7AABCF145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B4E4AE0B-8875-4708-8DFD-929737E287FA}"/>
              </a:ext>
            </a:extLst>
          </p:cNvPr>
          <p:cNvGrpSpPr/>
          <p:nvPr userDrawn="1"/>
        </p:nvGrpSpPr>
        <p:grpSpPr>
          <a:xfrm>
            <a:off x="2225616" y="2700701"/>
            <a:ext cx="9351034" cy="2038492"/>
            <a:chOff x="2484163" y="2390134"/>
            <a:chExt cx="9129711" cy="203849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0FF75C6-1FF8-4587-B7E9-3C6F3BFF5EC6}"/>
                </a:ext>
              </a:extLst>
            </p:cNvPr>
            <p:cNvSpPr/>
            <p:nvPr userDrawn="1"/>
          </p:nvSpPr>
          <p:spPr>
            <a:xfrm>
              <a:off x="2484163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5E9D5D21-66B9-4542-A342-B43218390DA9}"/>
                </a:ext>
              </a:extLst>
            </p:cNvPr>
            <p:cNvSpPr/>
            <p:nvPr userDrawn="1"/>
          </p:nvSpPr>
          <p:spPr>
            <a:xfrm>
              <a:off x="4793975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E22315D4-1B86-4894-A3C6-35C9C89EB77F}"/>
                </a:ext>
              </a:extLst>
            </p:cNvPr>
            <p:cNvSpPr/>
            <p:nvPr userDrawn="1"/>
          </p:nvSpPr>
          <p:spPr>
            <a:xfrm>
              <a:off x="7103787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C9E2599-9DC0-4AA7-803E-9355108A005A}"/>
                </a:ext>
              </a:extLst>
            </p:cNvPr>
            <p:cNvSpPr/>
            <p:nvPr userDrawn="1"/>
          </p:nvSpPr>
          <p:spPr>
            <a:xfrm>
              <a:off x="9413599" y="3223291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10218BB1-D83A-4C33-887B-C187B9F0802C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577156" y="3681599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E2560B5B-2B53-439E-B939-F8D7426D634F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5889349" y="2390135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36A3F87D-0644-4319-8F73-4BCC0AC2A830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177729" y="3681598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30F1B358-2BD8-44EA-9E7E-DB856131851D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404200" y="2390134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6109968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720DF669-00B6-4829-9D26-96FE3AAAB73F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Placeholder 13">
            <a:extLst>
              <a:ext uri="{FF2B5EF4-FFF2-40B4-BE49-F238E27FC236}">
                <a16:creationId xmlns:a16="http://schemas.microsoft.com/office/drawing/2014/main" id="{94A1E1A4-4F6B-48AC-AEFD-19EA4859E9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 dirty="0"/>
              <a:t>Click to add header</a:t>
            </a:r>
          </a:p>
        </p:txBody>
      </p:sp>
      <p:sp>
        <p:nvSpPr>
          <p:cNvPr id="14" name="Text Placeholder 14">
            <a:extLst>
              <a:ext uri="{FF2B5EF4-FFF2-40B4-BE49-F238E27FC236}">
                <a16:creationId xmlns:a16="http://schemas.microsoft.com/office/drawing/2014/main" id="{6A3DFF9F-C44C-4D3D-A214-F6A9D4B3B6C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2225614" y="1285422"/>
            <a:ext cx="935103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lvl="0" indent="0"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  <a:p>
            <a:pPr lvl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Second level</a:t>
            </a:r>
          </a:p>
          <a:p>
            <a:pPr lvl="2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Third level</a:t>
            </a:r>
          </a:p>
          <a:p>
            <a:pPr lvl="3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Fourth level</a:t>
            </a:r>
          </a:p>
          <a:p>
            <a:pPr lvl="4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64BF3B7-1934-4ED2-B107-69C6E939C2AC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394D12-572C-4960-9532-7BF3BA7C9816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1A0D5E2-FE07-4250-9351-ECC25DE45F6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EB60DC6-18F6-49A5-A622-2AB02140040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7742A0C4-CC6A-4570-B5DD-EEB76FEF2B4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98410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7C66BCB-A76A-40D8-BC5D-AA9360225A5A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itle Placeholder 13">
            <a:extLst>
              <a:ext uri="{FF2B5EF4-FFF2-40B4-BE49-F238E27FC236}">
                <a16:creationId xmlns:a16="http://schemas.microsoft.com/office/drawing/2014/main" id="{43C58213-12AB-47DA-93C0-B85DA99F25A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 dirty="0"/>
              <a:t>Click to add header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C8593610-B9DD-4CB0-903B-1508574FBE9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25615" y="1285424"/>
            <a:ext cx="5348376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8139BB0-5A1B-493B-9D55-5F50920714B5}"/>
              </a:ext>
            </a:extLst>
          </p:cNvPr>
          <p:cNvSpPr/>
          <p:nvPr userDrawn="1"/>
        </p:nvSpPr>
        <p:spPr>
          <a:xfrm>
            <a:off x="7719237" y="1285424"/>
            <a:ext cx="3855730" cy="4561564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E3D3994-6CF4-453E-8165-E8806D6A90D9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719237" y="1285424"/>
            <a:ext cx="3855730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None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lang="en-US" sz="28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8304ADB-2DB9-4134-9A9C-5D577E92CDC7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57E9E7D4-575A-45A5-B7AF-E1BA8DF0C110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2F671C2-84FC-4809-A4F6-8E554CF8CCB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E99DB8-D004-48DC-A541-51663904C86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3C6FE239-44CD-4807-8743-CBD359CCD0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79959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.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66A2C997-A56C-4B0D-8B6F-402616E7EDEA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1A9A4A1-CF97-4A22-BCE1-C0AD6B763DD8}"/>
              </a:ext>
            </a:extLst>
          </p:cNvPr>
          <p:cNvGrpSpPr/>
          <p:nvPr userDrawn="1"/>
        </p:nvGrpSpPr>
        <p:grpSpPr>
          <a:xfrm>
            <a:off x="2225616" y="2700701"/>
            <a:ext cx="9351034" cy="2038492"/>
            <a:chOff x="2484163" y="2390134"/>
            <a:chExt cx="9129711" cy="2038492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C630556-1203-444D-9406-8EE318B5B62D}"/>
                </a:ext>
              </a:extLst>
            </p:cNvPr>
            <p:cNvSpPr/>
            <p:nvPr userDrawn="1"/>
          </p:nvSpPr>
          <p:spPr>
            <a:xfrm>
              <a:off x="2484163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15910CA-54F1-4812-905F-477F1B94A069}"/>
                </a:ext>
              </a:extLst>
            </p:cNvPr>
            <p:cNvSpPr/>
            <p:nvPr userDrawn="1"/>
          </p:nvSpPr>
          <p:spPr>
            <a:xfrm>
              <a:off x="4793975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1312D5BA-B9DC-4C3A-8F29-0221C1A88107}"/>
                </a:ext>
              </a:extLst>
            </p:cNvPr>
            <p:cNvSpPr/>
            <p:nvPr userDrawn="1"/>
          </p:nvSpPr>
          <p:spPr>
            <a:xfrm>
              <a:off x="7103787" y="3223527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8DFE10E2-8D3B-4767-B6E0-27F1C0B4C047}"/>
                </a:ext>
              </a:extLst>
            </p:cNvPr>
            <p:cNvSpPr/>
            <p:nvPr userDrawn="1"/>
          </p:nvSpPr>
          <p:spPr>
            <a:xfrm>
              <a:off x="9413599" y="3223291"/>
              <a:ext cx="2200275" cy="447675"/>
            </a:xfrm>
            <a:prstGeom prst="rect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D2E6F3C4-95C1-49A1-8C1A-8B07DC3E6F2A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577156" y="3681599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7E8C7092-4FAF-491B-95F5-3A72870FA8DD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5889349" y="2390135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B3C78854-7097-4280-ABBA-C6320921F609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177729" y="3681598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A0C4280E-0FDC-4BFA-9394-244BF06A903F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404200" y="2390134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Title Placeholder 13">
            <a:extLst>
              <a:ext uri="{FF2B5EF4-FFF2-40B4-BE49-F238E27FC236}">
                <a16:creationId xmlns:a16="http://schemas.microsoft.com/office/drawing/2014/main" id="{F1E2C7E7-00FA-48AC-9492-4288BE8671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 dirty="0"/>
              <a:t>Click to add hea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A8F6BC1-2AFB-418D-91CB-F80EF23BA4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A2798D-009B-4592-8348-51BCF84E00CC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9E099C-6380-4717-9EF6-E7016DB92A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F30725-0586-4356-8633-ABC80F3247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A1247AA4-0065-4A28-9376-D77A50366D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8193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AC736427-21D5-4A42-B7B9-AF93FC53E607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Title Placeholder 13">
            <a:extLst>
              <a:ext uri="{FF2B5EF4-FFF2-40B4-BE49-F238E27FC236}">
                <a16:creationId xmlns:a16="http://schemas.microsoft.com/office/drawing/2014/main" id="{49C418EA-0250-4515-8248-6D01932316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/>
            </a:lvl1pPr>
          </a:lstStyle>
          <a:p>
            <a:pPr marL="0" lvl="0"/>
            <a:r>
              <a:rPr lang="en-US" dirty="0"/>
              <a:t>Click to add header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742155-CBD3-4895-9268-1772CF41CD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310431-7F52-4D02-A07D-AC29917033A5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9409896-6F6E-4A32-9A3D-F162094EF8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7A88C-24E6-45D5-85B0-18D18AC431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152AE17E-0E01-4377-8309-07E3675B49E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2836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.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FD6C3F4-C7B6-4613-8B33-6EBE2B01DE7B}"/>
              </a:ext>
            </a:extLst>
          </p:cNvPr>
          <p:cNvSpPr/>
          <p:nvPr userDrawn="1"/>
        </p:nvSpPr>
        <p:spPr>
          <a:xfrm>
            <a:off x="0" y="164595"/>
            <a:ext cx="12192000" cy="603156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10F5092-1527-9B43-8ADE-35FC8A382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26237C-3688-4C76-9028-257017D8A5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C930CF-C902-4FEA-A57D-8ADC6BDA9266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D787F-2A1D-467E-98BE-D08F353062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34679B-95E2-4402-B183-124608B885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4428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994112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6031368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6730384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8543116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46510229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17345842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7475490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3B70881-8656-4BB6-8BFF-D70457AE11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4193962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4C4FF54-00AB-4914-93FE-CE504BF35C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95322389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01E957-8227-4FB4-854D-47CEE49B5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47DF15-1D1D-4EDB-8D45-138FEFADB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8F399-C008-4519-B0D6-442656B26B09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BC586-8EB1-42ED-8612-0C49942A8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869D2D-0F63-442A-A0D5-172409C97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897706E-9B3C-4955-969A-F8A606152C91}"/>
              </a:ext>
            </a:extLst>
          </p:cNvPr>
          <p:cNvSpPr txBox="1">
            <a:spLocks/>
          </p:cNvSpPr>
          <p:nvPr userDrawn="1"/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7/29/2022</a:t>
            </a:fld>
            <a:endParaRPr lang="en-US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F7CF3BB-E1A6-4C10-8804-55C06CD9E934}"/>
              </a:ext>
            </a:extLst>
          </p:cNvPr>
          <p:cNvSpPr txBox="1">
            <a:spLocks/>
          </p:cNvSpPr>
          <p:nvPr userDrawn="1"/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B44AC58-A611-4F4F-A36B-F845B700FB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5" y="1285424"/>
            <a:ext cx="10973641" cy="45615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A9542D-A560-41C6-B599-C9128B8E6C40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6CDEADE-4711-45ED-AFFC-AFAEF595E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D143342-BDA6-4E84-8EC9-751AC1F3FFF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32900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6" y="1285424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6602" y="1304642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51B1845-A6C7-4AC2-B620-167676934130}" type="datetime1">
              <a:rPr lang="en-US" smtClean="0"/>
              <a:t>7/29/2022</a:t>
            </a:fld>
            <a:endParaRPr lang="en-US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0B00A02-8675-4160-8176-EDCBB7DF4D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2476" y="153230"/>
            <a:ext cx="10973642" cy="75135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10506075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59519495-2D32-4D4E-8F3F-FCF9D9FBC5C2}"/>
              </a:ext>
            </a:extLst>
          </p:cNvPr>
          <p:cNvSpPr/>
          <p:nvPr userDrawn="1"/>
        </p:nvSpPr>
        <p:spPr>
          <a:xfrm>
            <a:off x="6316602" y="1285424"/>
            <a:ext cx="5269515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A19F0A-7B48-493C-B0E2-4453EB0E51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81251DB-602C-4641-BC89-F6C2134B9E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835ED5-2481-43CA-B484-84F01BE7BCAB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EA3DCB-517D-4D4C-B87F-1B90D69085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915C024-99A2-414A-9E84-471B1D5347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DE2E14A-B607-462F-AF55-A2C40E568568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D2AC0647-D236-4D87-99A7-66626B163A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1F4CD0FD-24B2-4EB8-9EB2-2EE15DAD2E73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2D839CB-DBF3-46E9-B1EB-DA76E4CAE83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5" y="1285424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EDE6A2A-0CCE-4F58-B3CD-B767A786913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316602" y="1304642"/>
            <a:ext cx="5269515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721822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AD5401-2B8D-4E62-9FB6-C631CC3E4D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8B1E0B6-F5C0-4816-A4FE-AC6BE61FC1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AB68D5-5086-4373-9404-91C89D031447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441905-62F9-4943-8113-75BDA01253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2792EC-9876-42F6-B749-1AD876DE2C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5707F44-377B-41C7-BC2D-4996B3F40A9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2E7CC3FA-F1FE-4D55-921A-E5F8CC303A6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52CDE914-26A2-46BF-B786-29CDEFF56F83}"/>
              </a:ext>
            </a:extLst>
          </p:cNvPr>
          <p:cNvGrpSpPr/>
          <p:nvPr userDrawn="1"/>
        </p:nvGrpSpPr>
        <p:grpSpPr>
          <a:xfrm>
            <a:off x="663269" y="2403028"/>
            <a:ext cx="10913380" cy="2038492"/>
            <a:chOff x="333375" y="2390134"/>
            <a:chExt cx="11439523" cy="203849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AC2D51E0-0288-46B5-AE8E-53B44B6D62AF}"/>
                </a:ext>
              </a:extLst>
            </p:cNvPr>
            <p:cNvSpPr/>
            <p:nvPr userDrawn="1"/>
          </p:nvSpPr>
          <p:spPr>
            <a:xfrm>
              <a:off x="333375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79EAD7DC-28F3-4058-8BF9-9CCB5B38FD9F}"/>
                </a:ext>
              </a:extLst>
            </p:cNvPr>
            <p:cNvSpPr/>
            <p:nvPr userDrawn="1"/>
          </p:nvSpPr>
          <p:spPr>
            <a:xfrm>
              <a:off x="2643187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F56FDF40-9136-4811-8E07-6B0AB0C46023}"/>
                </a:ext>
              </a:extLst>
            </p:cNvPr>
            <p:cNvSpPr/>
            <p:nvPr userDrawn="1"/>
          </p:nvSpPr>
          <p:spPr>
            <a:xfrm>
              <a:off x="4952999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A6719EA0-55BB-4503-BDA7-B64041373181}"/>
                </a:ext>
              </a:extLst>
            </p:cNvPr>
            <p:cNvSpPr/>
            <p:nvPr userDrawn="1"/>
          </p:nvSpPr>
          <p:spPr>
            <a:xfrm>
              <a:off x="7262811" y="3223527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F1B4587-442C-4C19-9102-6B375D1AE6CC}"/>
                </a:ext>
              </a:extLst>
            </p:cNvPr>
            <p:cNvSpPr/>
            <p:nvPr userDrawn="1"/>
          </p:nvSpPr>
          <p:spPr>
            <a:xfrm>
              <a:off x="9572623" y="3223291"/>
              <a:ext cx="2200275" cy="447675"/>
            </a:xfrm>
            <a:prstGeom prst="rect">
              <a:avLst/>
            </a:prstGeom>
            <a:solidFill>
              <a:schemeClr val="accent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2610EEBE-DF4B-4657-A9ED-7CEED2CD42C0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428749" y="2390136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34ECB64-BDB2-4525-9A82-3F8E50C4AF7B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3736180" y="3681599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55E310C2-927E-4696-9D30-45A2F7D7A37E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6048373" y="2390135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AE6C4E8C-06AF-499C-9A9B-759448E9F026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8336753" y="3681598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66938570-D807-4324-871B-DDDF5998AE7E}"/>
                </a:ext>
              </a:extLst>
            </p:cNvPr>
            <p:cNvCxnSpPr>
              <a:cxnSpLocks/>
            </p:cNvCxnSpPr>
            <p:nvPr userDrawn="1"/>
          </p:nvCxnSpPr>
          <p:spPr>
            <a:xfrm flipH="1" flipV="1">
              <a:off x="10563224" y="2390134"/>
              <a:ext cx="4763" cy="747027"/>
            </a:xfrm>
            <a:prstGeom prst="line">
              <a:avLst/>
            </a:prstGeom>
            <a:ln w="50800" cap="rnd">
              <a:solidFill>
                <a:schemeClr val="accent2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9C791FF2-B5BD-4E56-B492-F87BD97E08A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84198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5A66B1-38B5-4C87-96BA-DAE4850DD1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2938B8B-7CA6-4C10-8CB4-361CAF61F8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40957E-7900-4B87-81CB-984FF3C74C4A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B48F1B-89EA-4905-B352-8320B11053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A905E8-F69E-4262-B535-CD4DA56E4A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118EE46-1E16-4835-B6B8-8C79AA037EA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53BF80DF-8F0C-46FA-B82A-59C923970FE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961C567B-65AA-46AA-89E3-42CC6B462E22}"/>
              </a:ext>
            </a:extLst>
          </p:cNvPr>
          <p:cNvSpPr/>
          <p:nvPr userDrawn="1"/>
        </p:nvSpPr>
        <p:spPr>
          <a:xfrm>
            <a:off x="6619971" y="1260001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0A31A204-7316-4569-8F2B-7AC66C5A35A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619971" y="1260001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A8C3D0C8-4161-41B3-86DB-B24AD82509C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355695FD-5C94-4F47-84E1-2C0637C5D096}"/>
              </a:ext>
            </a:extLst>
          </p:cNvPr>
          <p:cNvSpPr/>
          <p:nvPr userDrawn="1"/>
        </p:nvSpPr>
        <p:spPr>
          <a:xfrm>
            <a:off x="612475" y="1260001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Text Placeholder 12">
            <a:extLst>
              <a:ext uri="{FF2B5EF4-FFF2-40B4-BE49-F238E27FC236}">
                <a16:creationId xmlns:a16="http://schemas.microsoft.com/office/drawing/2014/main" id="{6DD64ACB-D732-45F1-B21B-19B11924576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2475" y="1260001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E3089159-ACBB-4B4F-9A5B-9BE3C718A26B}"/>
              </a:ext>
            </a:extLst>
          </p:cNvPr>
          <p:cNvSpPr/>
          <p:nvPr userDrawn="1"/>
        </p:nvSpPr>
        <p:spPr>
          <a:xfrm>
            <a:off x="6619971" y="3645410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Text Placeholder 12">
            <a:extLst>
              <a:ext uri="{FF2B5EF4-FFF2-40B4-BE49-F238E27FC236}">
                <a16:creationId xmlns:a16="http://schemas.microsoft.com/office/drawing/2014/main" id="{87DEB579-3DE1-43EC-8F40-AA22690697F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19971" y="3645410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D8AA8C2A-FFAC-4EEB-A9C8-443AC7422034}"/>
              </a:ext>
            </a:extLst>
          </p:cNvPr>
          <p:cNvSpPr/>
          <p:nvPr userDrawn="1"/>
        </p:nvSpPr>
        <p:spPr>
          <a:xfrm>
            <a:off x="612475" y="3645410"/>
            <a:ext cx="4921543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Text Placeholder 12">
            <a:extLst>
              <a:ext uri="{FF2B5EF4-FFF2-40B4-BE49-F238E27FC236}">
                <a16:creationId xmlns:a16="http://schemas.microsoft.com/office/drawing/2014/main" id="{38AA23CB-5CA2-46D7-96A2-380D3A4BAB9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2475" y="3645410"/>
            <a:ext cx="4912396" cy="1967024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0366629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8662714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30697B-5DD2-4D82-910C-A95C63D487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FAFCB6B-D8B4-4142-98BB-27E2128833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88BF4-DA46-495C-932E-DA28E9DC3812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9A7A0E0-DF61-4449-A131-7A5AFB2159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A04B79-6E78-4608-A987-7B436929EB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867113-0346-4133-971E-2FA69106B086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ACCABB91-9E8D-48A4-9D54-FAF1626653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1437DBFE-B412-48BE-AF65-801B66957FE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2518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66D2F3-544F-4F0E-8531-29BF9F3BBD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CA3AB-E99D-46BD-BC3E-4F621A3811BD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97CB4D3-E7BC-4997-A9E3-8A55F18512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14230D4-FBDC-455E-BEBA-62F5CA1A80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E9001B8-31F1-4A6D-B5AC-6902FC1CFCD2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8C7617E6-FB51-4CDB-A2DB-103DD65AC4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3B269AE-F12A-4446-AB5C-3392E87A1731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5313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2858441"/>
            <a:ext cx="9144000" cy="1455651"/>
          </a:xfr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defRPr sz="42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800" b="1" spc="105" baseline="0">
                <a:solidFill>
                  <a:srgbClr val="44546A"/>
                </a:solidFill>
                <a:latin typeface="+mn-lt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F84C7D1-DD04-4E00-B3C7-9B667770A5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765BDD-DA18-4C70-B660-6B61DCF860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408B75-36E3-4B43-AEFD-47BBB2E94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C39701-6458-4AD8-8629-6BBA59D6898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23960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4" y="1881361"/>
            <a:ext cx="4937761" cy="4023359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Open Sans (Headings)"/>
              </a:defRPr>
            </a:lvl1pPr>
            <a:lvl2pPr>
              <a:defRPr>
                <a:latin typeface="Open Sans (Headings)"/>
              </a:defRPr>
            </a:lvl2pPr>
            <a:lvl3pPr>
              <a:defRPr>
                <a:latin typeface="Open Sans (Headings)"/>
              </a:defRPr>
            </a:lvl3pPr>
            <a:lvl4pPr>
              <a:defRPr baseline="0">
                <a:latin typeface="Open Sans (Headings)"/>
              </a:defRPr>
            </a:lvl4pPr>
            <a:lvl5pPr>
              <a:defRPr>
                <a:latin typeface="Open Sans (Headings)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r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61"/>
            <a:ext cx="4937760" cy="4023359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Open Sans (Headings)"/>
              </a:defRPr>
            </a:lvl1pPr>
            <a:lvl2pPr>
              <a:defRPr>
                <a:latin typeface="Open Sans (Headings)"/>
              </a:defRPr>
            </a:lvl2pPr>
            <a:lvl3pPr>
              <a:defRPr>
                <a:latin typeface="Open Sans (Headings)"/>
              </a:defRPr>
            </a:lvl3pPr>
            <a:lvl4pPr>
              <a:defRPr>
                <a:latin typeface="Open Sans (Headings)"/>
              </a:defRPr>
            </a:lvl4pPr>
            <a:lvl5pPr>
              <a:defRPr>
                <a:latin typeface="Open Sans (Headings)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rth Level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CD24F32-6D48-4D7A-A9C3-CCBB588B7D6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E7887B83-88BB-4E17-B474-9CC960BABBD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A5B5C1D-7D45-46A0-80EA-62F1BC70666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7C9C14-6C67-413B-848D-868105270EE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8117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201" y="1825627"/>
            <a:ext cx="10515599" cy="4302459"/>
          </a:xfrm>
        </p:spPr>
        <p:txBody>
          <a:bodyPr/>
          <a:lstStyle>
            <a:lvl1pPr>
              <a:defRPr b="1">
                <a:latin typeface="Open Sans Semibold" panose="020B0606030504020204"/>
              </a:defRPr>
            </a:lvl1pPr>
            <a:lvl2pPr marL="514350" indent="-17145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200150" indent="-17145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8802CCF-F079-4C3F-876F-B12028A1B41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F4BBA6D-23CA-4153-9807-82B4B1671D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4516C6-4687-47AA-9985-DA293C464E4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DD8ACAD-150D-4C2E-AEB4-41F57876220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74603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23863" y="1687515"/>
            <a:ext cx="11344275" cy="4181578"/>
          </a:xfrm>
        </p:spPr>
        <p:txBody>
          <a:bodyPr/>
          <a:lstStyle>
            <a:lvl1pPr marL="0" indent="0">
              <a:buNone/>
              <a:defRPr>
                <a:latin typeface="Open Sans" panose="020B0606030504020204"/>
              </a:defRPr>
            </a:lvl1pPr>
          </a:lstStyle>
          <a:p>
            <a:pPr lvl="0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0CE8B3-E4CC-4CAF-92B6-DCE8DA8F6799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192C20-D1A4-4523-B61D-558ACC7A8BD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129037-438D-47FE-A994-931557FE1D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45167D-3095-4B67-8E95-C18C8AC1084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819701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8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1" y="6062945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1" y="153230"/>
            <a:ext cx="11121657" cy="751350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1F148-FE22-5F4B-9656-B9FD0B31FA6D}"/>
              </a:ext>
            </a:extLst>
          </p:cNvPr>
          <p:cNvSpPr/>
          <p:nvPr userDrawn="1"/>
        </p:nvSpPr>
        <p:spPr>
          <a:xfrm>
            <a:off x="0" y="6502624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4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5F8C8BF-6574-484D-86BA-1C3D16D96EEE}" type="datetime1">
              <a:rPr lang="en-US" smtClean="0"/>
              <a:t>7/29/2022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69462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61964939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55056603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5996400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629726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2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04671469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295029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9462811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5"/>
            <a:ext cx="2870789" cy="2351382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38291208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4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4"/>
            <a:ext cx="2870789" cy="23923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24857674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F4DB6E-C9F9-D944-B663-9CB9DAF8722D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8E7FD1F-DB59-1F43-A0E9-971CABD56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1650F9ED-1E1E-254C-8D51-ADB94CF4D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7A58D1EA-CD4D-456F-A805-BAF4EA62AFF6}" type="datetime1">
              <a:rPr lang="en-US" smtClean="0"/>
              <a:t>7/29/2022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FED095-2A60-7649-AE12-495DA5A57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86593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EBFA53-3D67-304C-8BAB-F461F2DE5244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08215F0-AC27-C64F-9348-60129EF430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112C45B-F787-7C43-BB07-B214946426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9AC18C9-E070-430C-BD4C-08311E3E1F99}" type="datetime1">
              <a:rPr lang="en-US" smtClean="0"/>
              <a:t>7/29/2022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FB4E1D8-148E-BB46-8227-70333E5A7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34839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32CFE30-B31C-4F37-95A0-A80DEF7B7179}" type="datetime1">
              <a:rPr lang="en-US" smtClean="0"/>
              <a:t>7/29/2022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3617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/>
        </p:nvSpPr>
        <p:spPr>
          <a:xfrm>
            <a:off x="6428096" y="1285424"/>
            <a:ext cx="5405941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8097" y="1285424"/>
            <a:ext cx="538362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4B5868-DFC4-1A43-8743-6E68BA4257B7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2ECF530-48E5-5848-B2E1-9BC081B0D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496040E-53E8-4343-B8A6-5CD8977655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AE3E6634-AC05-43FC-ABAC-EA3784AEB700}" type="datetime1">
              <a:rPr lang="en-US" smtClean="0"/>
              <a:t>7/29/2022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1EF5C9-4012-EE46-BB4E-52AD584C5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89681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0729C3-ACF1-4E41-B822-FC5A03165595}"/>
              </a:ext>
            </a:extLst>
          </p:cNvPr>
          <p:cNvSpPr/>
          <p:nvPr/>
        </p:nvSpPr>
        <p:spPr>
          <a:xfrm>
            <a:off x="333375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/>
        </p:nvSpPr>
        <p:spPr>
          <a:xfrm>
            <a:off x="2643187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/>
        </p:nvSpPr>
        <p:spPr>
          <a:xfrm>
            <a:off x="4952999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/>
        </p:nvSpPr>
        <p:spPr>
          <a:xfrm>
            <a:off x="7262811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/>
        </p:nvSpPr>
        <p:spPr>
          <a:xfrm>
            <a:off x="9572623" y="3223291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/>
        </p:nvCxnSpPr>
        <p:spPr>
          <a:xfrm flipH="1" flipV="1">
            <a:off x="1428749" y="2390136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/>
        </p:nvCxnSpPr>
        <p:spPr>
          <a:xfrm flipH="1" flipV="1">
            <a:off x="3736180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/>
        </p:nvCxnSpPr>
        <p:spPr>
          <a:xfrm flipH="1" flipV="1">
            <a:off x="6048373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/>
        </p:nvCxnSpPr>
        <p:spPr>
          <a:xfrm flipH="1" flipV="1">
            <a:off x="8336753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/>
        </p:nvCxnSpPr>
        <p:spPr>
          <a:xfrm flipH="1" flipV="1">
            <a:off x="10563224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DA5B326-4BC0-484C-8A52-EB4943337D62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4142F996-DE7C-3E47-BA8A-BBC00F96DD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974DC2DB-1F0B-0942-9E0D-4F8920E60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96A0218F-2F9B-4AB1-A566-9653F81B5301}" type="datetime1">
              <a:rPr lang="en-US" smtClean="0"/>
              <a:t>7/29/2022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B05FB37-2E5D-9D48-A9B7-C9217B450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01624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05200282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/>
        </p:nvSpPr>
        <p:spPr>
          <a:xfrm>
            <a:off x="712381" y="1239202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/>
        </p:nvSpPr>
        <p:spPr>
          <a:xfrm>
            <a:off x="712380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/>
        </p:nvSpPr>
        <p:spPr>
          <a:xfrm>
            <a:off x="6909500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/>
        </p:nvSpPr>
        <p:spPr>
          <a:xfrm>
            <a:off x="6941734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538" y="1286467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537" y="3788533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6658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36051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60968C-3F33-C64B-A2A1-E1BACC190A76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07386F5-F54A-234D-AC30-C50F06D59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A01B6C27-68DF-A946-B076-AD57BBA02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14FAAFC6-72CA-442D-A105-C36CCA5A667D}" type="datetime1">
              <a:rPr lang="en-US" smtClean="0"/>
              <a:t>7/29/2022</a:t>
            </a:fld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0949CC2-4815-9040-AE29-DA865A2CF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7965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1F148-FE22-5F4B-9656-B9FD0B31FA6D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4E6DB719-9EC7-4892-909E-9C496F72B948}" type="datetime1">
              <a:rPr lang="en-US" smtClean="0"/>
              <a:t>7/29/2022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60950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4EABCAA-819D-3348-9451-F8B72E04B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96E019A-A2E1-144B-A66D-D804B12991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2C4DFD9F-4443-4315-9D4B-F690ADD1720E}" type="datetime1">
              <a:rPr lang="en-US" smtClean="0"/>
              <a:t>7/29/2022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4099B-DB89-0449-ADCC-A2078A708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27790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C9CA210-FEED-684B-A2A9-F54EDD7D2C65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707D5587-E7E9-4525-8001-F647C035136E}" type="datetime1">
              <a:rPr lang="en-US" smtClean="0"/>
              <a:t>7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930A1659-99D2-374C-97EA-2635D11528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90F83D7-4EC5-EE4E-83F7-C835C5446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2491280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7BD0F88F-B66B-F745-BA33-0143C27E5F2D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3000" indent="-22860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FA6AE0-F5B6-6E49-8BB3-4004BFDD1F0B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9FB4947-4D5F-954E-B552-4F263C8E98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B216ADA8-851B-4D86-A7D4-9334032100C8}" type="datetime1">
              <a:rPr lang="en-US" smtClean="0"/>
              <a:t>7/29/2022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D2FE67E8-1825-AB4D-A7FC-30A73E3B0E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498E68E3-D6C5-9245-99A9-607F1E2B05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17581892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6E93DA6-A186-9940-9961-AE9EAE17F18C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2EAA20-EA13-F943-95AF-7156B689A8C1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49262BE9-D596-EE49-8507-B79D803EBB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B1872213-30C5-4FF1-8635-CCB463595830}" type="datetime1">
              <a:rPr lang="en-US" smtClean="0"/>
              <a:t>7/29/2022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910B0988-AF98-C545-A6AB-AD57B467B0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BD5D7554-A478-8645-A569-84934EC2D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2302613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77DCAAF-B02B-B24A-8AB0-956BA9E81D63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28DAB3-C658-FA4C-9183-4169F5C77E36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53DBDFD6-DCC5-FE4D-9B49-5F5722AB8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B80E010A-D21E-4030-97D7-3FC85203BA5B}" type="datetime1">
              <a:rPr lang="en-US" smtClean="0"/>
              <a:t>7/29/2022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8C24448D-6ADF-8442-A000-775910CD0DB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1165CA6F-4364-244F-9ABF-4E81C4523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04257498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/>
        </p:nvSpPr>
        <p:spPr>
          <a:xfrm>
            <a:off x="2523919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/>
        </p:nvSpPr>
        <p:spPr>
          <a:xfrm>
            <a:off x="4833731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/>
        </p:nvSpPr>
        <p:spPr>
          <a:xfrm>
            <a:off x="714354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/>
        </p:nvSpPr>
        <p:spPr>
          <a:xfrm>
            <a:off x="9453355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/>
        </p:nvCxnSpPr>
        <p:spPr>
          <a:xfrm flipH="1" flipV="1">
            <a:off x="3616912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/>
        </p:nvCxnSpPr>
        <p:spPr>
          <a:xfrm flipH="1" flipV="1">
            <a:off x="5929105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/>
        </p:nvCxnSpPr>
        <p:spPr>
          <a:xfrm flipH="1" flipV="1">
            <a:off x="8217485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/>
        </p:nvCxnSpPr>
        <p:spPr>
          <a:xfrm flipH="1" flipV="1">
            <a:off x="10443956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A2BD7F4-C9CD-5E45-8A88-B96A3E033E78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4592BA-DF80-CC4D-BC9D-88314565611D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9F3F664-C802-7249-A764-71E581FA3D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19C63E02-CD3A-4B01-84D1-3ED9B6F7C9F8}" type="datetime1">
              <a:rPr lang="en-US" smtClean="0"/>
              <a:t>7/29/2022</a:t>
            </a:fld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D467C9B8-BC4D-7F47-8AA0-AA2F4BE0A2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6D8DE5CC-1AD4-EE46-B391-85AE43951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162800863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FDDB49D4-8143-9B46-A2E3-F54C2E2C226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E45AD176-A492-564A-9120-30D5931E75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398E1B61-E6EB-48BD-96C7-AFA289D5E2AC}" type="datetime1">
              <a:rPr lang="en-US" smtClean="0"/>
              <a:t>7/29/2022</a:t>
            </a:fld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2D2368-DB91-5641-B72D-CAD3B3692E26}"/>
              </a:ext>
            </a:extLst>
          </p:cNvPr>
          <p:cNvSpPr/>
          <p:nvPr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2FE50E5-E585-294D-8EA1-6FF47F94FAEF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24516B70-534E-B846-AFCE-7DEC40C1C0F1}"/>
              </a:ext>
            </a:extLst>
          </p:cNvPr>
          <p:cNvSpPr txBox="1">
            <a:spLocks/>
          </p:cNvSpPr>
          <p:nvPr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7/29/2022</a:t>
            </a:fld>
            <a:endParaRPr lang="en-US"/>
          </a:p>
        </p:txBody>
      </p:sp>
      <p:pic>
        <p:nvPicPr>
          <p:cNvPr id="31" name="Picture 30" descr="A close up of a sign&#10;&#10;Description automatically generated">
            <a:extLst>
              <a:ext uri="{FF2B5EF4-FFF2-40B4-BE49-F238E27FC236}">
                <a16:creationId xmlns:a16="http://schemas.microsoft.com/office/drawing/2014/main" id="{1D042591-5AE2-0747-992B-D8913100411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6BF1E2C7-B4C7-9940-9534-D5A78B0D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5933267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6BA4798D-BD2C-4612-B74E-5EC4AA34C4B5}" type="datetime1">
              <a:rPr lang="en-US" smtClean="0"/>
              <a:t>7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9448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83B70881-8656-4BB6-8BFF-D70457AE11D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1667214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17A0E8C-5BD7-4700-910D-186567B7387F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1841" y="167275"/>
            <a:ext cx="9630770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9BB631-3C3A-404F-9486-4A9AD6558D7E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77C9D04E-46AF-E54D-9D39-9FEF716330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6F820586-F7C7-4AFC-AC1F-7491474EB89F}" type="datetime1">
              <a:rPr lang="en-US" smtClean="0"/>
              <a:t>7/29/2022</a:t>
            </a:fld>
            <a:endParaRPr lang="en-US"/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DAF1344F-A4C1-B246-84D0-1D67018FF5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93775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0C87E2D-FAD5-4CD6-9B9E-DF4D175EE0DC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E4F90356-E557-4622-94C2-A683DA8E8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5AB49ACB-9375-4D1F-B006-DE10D961C07C}" type="datetime1">
              <a:rPr lang="en-US" smtClean="0"/>
              <a:t>7/29/2022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19" y="153230"/>
            <a:ext cx="9513918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57E269-44EA-2844-9B22-F017403D625E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EB296D3-703D-C04F-9ED9-0F2A0F4651CC}"/>
              </a:ext>
            </a:extLst>
          </p:cNvPr>
          <p:cNvSpPr txBox="1">
            <a:spLocks/>
          </p:cNvSpPr>
          <p:nvPr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7/29/2022</a:t>
            </a:fld>
            <a:endParaRPr lang="en-US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4DF7DD12-0BD0-204E-A4BA-F2E71254F34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75976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8F225BF-6018-4E25-96E5-020EDE4E074B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8408" y="164595"/>
            <a:ext cx="9919861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8F072F-C70B-384C-BB1F-23F1D691A60B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D7719160-ED60-8045-8675-2D2E522409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DDB2BBB7-37F2-44CE-9EE1-7B14A58AD8AF}" type="datetime1">
              <a:rPr lang="en-US" smtClean="0"/>
              <a:t>7/29/2022</a:t>
            </a:fld>
            <a:endParaRPr lang="en-US"/>
          </a:p>
        </p:txBody>
      </p:sp>
      <p:pic>
        <p:nvPicPr>
          <p:cNvPr id="21" name="Picture 20" descr="A close up of a sign&#10;&#10;Description automatically generated">
            <a:extLst>
              <a:ext uri="{FF2B5EF4-FFF2-40B4-BE49-F238E27FC236}">
                <a16:creationId xmlns:a16="http://schemas.microsoft.com/office/drawing/2014/main" id="{ECDAB876-A886-C54C-ACB6-BF7126E392C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90910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1C02CBCA-AFCA-4598-B68B-76039CBECC82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249" y="168668"/>
            <a:ext cx="9884676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/>
        </p:nvSpPr>
        <p:spPr>
          <a:xfrm>
            <a:off x="248416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/>
        </p:nvSpPr>
        <p:spPr>
          <a:xfrm>
            <a:off x="4793975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/>
        </p:nvSpPr>
        <p:spPr>
          <a:xfrm>
            <a:off x="7103787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/>
        </p:nvSpPr>
        <p:spPr>
          <a:xfrm>
            <a:off x="9413599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/>
        </p:nvCxnSpPr>
        <p:spPr>
          <a:xfrm flipH="1" flipV="1">
            <a:off x="1332717" y="2472427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/>
        </p:nvCxnSpPr>
        <p:spPr>
          <a:xfrm flipH="1" flipV="1">
            <a:off x="3577156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/>
        </p:nvCxnSpPr>
        <p:spPr>
          <a:xfrm flipH="1" flipV="1">
            <a:off x="5889349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/>
        </p:nvCxnSpPr>
        <p:spPr>
          <a:xfrm flipH="1" flipV="1">
            <a:off x="8177729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/>
        </p:nvCxnSpPr>
        <p:spPr>
          <a:xfrm flipH="1" flipV="1">
            <a:off x="10404200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11C78B-F852-454F-903B-A9ACC1E0058D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9562053-D36A-6A4C-81AC-15D58F021C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2C8152C9-D242-4875-B3E3-FBD92E1E1330}" type="datetime1">
              <a:rPr lang="en-US" smtClean="0"/>
              <a:t>7/29/2022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F37422CB-060A-BE49-AEEC-D38C146ED0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93108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5F1119D-21B3-4E72-8273-39944FAB4016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857" y="164595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5B85CF5-636A-E440-B11A-092206235E22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C737E72E-CFE8-C948-A232-7E5E0DBB5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DEF2CB9D-54B2-460F-8DAD-BADB55398C76}" type="datetime1">
              <a:rPr lang="en-US" smtClean="0"/>
              <a:t>7/29/2022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9516DD73-EFAF-4D47-841B-1104248EF1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380016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FD6C3F4-C7B6-4613-8B33-6EBE2B01DE7B}"/>
              </a:ext>
            </a:extLst>
          </p:cNvPr>
          <p:cNvSpPr/>
          <p:nvPr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1" y="252702"/>
            <a:ext cx="9131780" cy="575136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5F3F2-7038-D944-BB35-28CDB39B19DA}"/>
              </a:ext>
            </a:extLst>
          </p:cNvPr>
          <p:cNvSpPr/>
          <p:nvPr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045A7A8-30EA-074D-AD8F-CCCE7D8D8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44E50530-608F-45FB-86FF-F1DD6FF52501}" type="datetime1">
              <a:rPr lang="en-US" smtClean="0"/>
              <a:t>7/29/2022</a:t>
            </a:fld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10F5092-1527-9B43-8ADE-35FC8A3822B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90308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CD87E9-152C-46D9-8D3E-52624A6C292C}" type="datetime1">
              <a:rPr lang="en-US" smtClean="0"/>
              <a:t>7/29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0479532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D598F-BD5A-4CCC-8902-3524A15422EA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23863" y="1687515"/>
            <a:ext cx="11344274" cy="4181578"/>
          </a:xfrm>
        </p:spPr>
        <p:txBody>
          <a:bodyPr/>
          <a:lstStyle>
            <a:lvl1pPr marL="0" indent="0">
              <a:buNone/>
              <a:defRPr>
                <a:latin typeface="Open Sans" panose="020B0606030504020204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361761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D4C4FF54-00AB-4914-93FE-CE504BF35CD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06947044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01E957-8227-4FB4-854D-47CEE49B56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lick to add header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B47DF15-1D1D-4EDB-8D45-138FEFADB31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E58F399-C008-4519-B0D6-442656B26B09}" type="datetime1">
              <a:rPr lang="en-US" smtClean="0"/>
              <a:t>7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DABC586-8EB1-42ED-8612-0C49942A83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3869D2D-0F63-442A-A0D5-172409C97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C897706E-9B3C-4955-969A-F8A606152C91}"/>
              </a:ext>
            </a:extLst>
          </p:cNvPr>
          <p:cNvSpPr txBox="1">
            <a:spLocks/>
          </p:cNvSpPr>
          <p:nvPr userDrawn="1"/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7/29/2022</a:t>
            </a:fld>
            <a:endParaRPr lang="en-US"/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9F7CF3BB-E1A6-4C10-8804-55C06CD9E934}"/>
              </a:ext>
            </a:extLst>
          </p:cNvPr>
          <p:cNvSpPr txBox="1">
            <a:spLocks/>
          </p:cNvSpPr>
          <p:nvPr userDrawn="1"/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6B44AC58-A611-4F4F-A36B-F845B700FB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2475" y="1285424"/>
            <a:ext cx="10973641" cy="456156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2A9542D-A560-41C6-B599-C9128B8E6C40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A6CDEADE-4711-45ED-AFFC-AFAEF595EA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2D143342-BDA6-4E84-8EC9-751AC1F3FFF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A518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3066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10.png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26" Type="http://schemas.openxmlformats.org/officeDocument/2006/relationships/slideLayout" Target="../slideLayouts/slideLayout72.xml"/><Relationship Id="rId3" Type="http://schemas.openxmlformats.org/officeDocument/2006/relationships/slideLayout" Target="../slideLayouts/slideLayout49.xml"/><Relationship Id="rId21" Type="http://schemas.openxmlformats.org/officeDocument/2006/relationships/slideLayout" Target="../slideLayouts/slideLayout67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5" Type="http://schemas.openxmlformats.org/officeDocument/2006/relationships/slideLayout" Target="../slideLayouts/slideLayout71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29" Type="http://schemas.openxmlformats.org/officeDocument/2006/relationships/slideLayout" Target="../slideLayouts/slideLayout75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24" Type="http://schemas.openxmlformats.org/officeDocument/2006/relationships/slideLayout" Target="../slideLayouts/slideLayout70.xml"/><Relationship Id="rId32" Type="http://schemas.openxmlformats.org/officeDocument/2006/relationships/theme" Target="../theme/theme5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23" Type="http://schemas.openxmlformats.org/officeDocument/2006/relationships/slideLayout" Target="../slideLayouts/slideLayout69.xml"/><Relationship Id="rId28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31" Type="http://schemas.openxmlformats.org/officeDocument/2006/relationships/slideLayout" Target="../slideLayouts/slideLayout77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slideLayout" Target="../slideLayouts/slideLayout68.xml"/><Relationship Id="rId27" Type="http://schemas.openxmlformats.org/officeDocument/2006/relationships/slideLayout" Target="../slideLayouts/slideLayout73.xml"/><Relationship Id="rId30" Type="http://schemas.openxmlformats.org/officeDocument/2006/relationships/slideLayout" Target="../slideLayouts/slideLayout76.xml"/><Relationship Id="rId35" Type="http://schemas.openxmlformats.org/officeDocument/2006/relationships/image" Target="../media/image1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75" y="153230"/>
            <a:ext cx="10964174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E72BE1-20FB-4C12-A004-6B617A098B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474" y="1285424"/>
            <a:ext cx="1096417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C97D2B7-7E72-4531-A79B-84ACC09DB2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85F9E2-D9B2-4764-B4FC-E898000E2348}" type="datetime1">
              <a:rPr lang="en-US" smtClean="0"/>
              <a:t>7/29/2022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FDCB5BAF-9D9E-4C5F-AE37-8774C83E21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343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3DE7BEB-A03C-4C8E-B7F2-286276E879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1256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21" r:id="rId2"/>
    <p:sldLayoutId id="2147483742" r:id="rId3"/>
    <p:sldLayoutId id="2147483748" r:id="rId4"/>
    <p:sldLayoutId id="2147483746" r:id="rId5"/>
    <p:sldLayoutId id="2147483747" r:id="rId6"/>
    <p:sldLayoutId id="2147483744" r:id="rId7"/>
    <p:sldLayoutId id="2147483745" r:id="rId8"/>
    <p:sldLayoutId id="2147483774" r:id="rId9"/>
    <p:sldLayoutId id="2147483749" r:id="rId10"/>
    <p:sldLayoutId id="2147483772" r:id="rId11"/>
    <p:sldLayoutId id="2147483773" r:id="rId12"/>
    <p:sldLayoutId id="2147483775" r:id="rId13"/>
    <p:sldLayoutId id="2147483776" r:id="rId14"/>
    <p:sldLayoutId id="2147483777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panose="05000000000000000000" pitchFamily="2" charset="2"/>
        <a:buNone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CEE07599-060C-4042-81B9-4CAF2CDEC6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25614" y="1285422"/>
            <a:ext cx="935103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0" lvl="0" indent="0">
              <a:buClr>
                <a:schemeClr val="accent2"/>
              </a:buClr>
              <a:buFont typeface="Wingdings" panose="05000000000000000000" pitchFamily="2" charset="2"/>
              <a:buNone/>
            </a:pPr>
            <a:r>
              <a:rPr lang="en-US" dirty="0"/>
              <a:t>Click to edit Master text styles</a:t>
            </a:r>
          </a:p>
          <a:p>
            <a:pPr lvl="1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Second level</a:t>
            </a:r>
          </a:p>
          <a:p>
            <a:pPr lvl="2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Third level</a:t>
            </a:r>
          </a:p>
          <a:p>
            <a:pPr lvl="3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Fourth level</a:t>
            </a:r>
          </a:p>
          <a:p>
            <a:pPr lvl="4">
              <a:buClr>
                <a:schemeClr val="accent2"/>
              </a:buClr>
              <a:buFont typeface="Wingdings" panose="05000000000000000000" pitchFamily="2" charset="2"/>
              <a:buChar char="§"/>
            </a:pPr>
            <a:r>
              <a:rPr lang="en-US" dirty="0"/>
              <a:t>Fifth level</a:t>
            </a:r>
          </a:p>
        </p:txBody>
      </p:sp>
      <p:sp>
        <p:nvSpPr>
          <p:cNvPr id="14" name="Title Placeholder 13">
            <a:extLst>
              <a:ext uri="{FF2B5EF4-FFF2-40B4-BE49-F238E27FC236}">
                <a16:creationId xmlns:a16="http://schemas.microsoft.com/office/drawing/2014/main" id="{D2D965D3-DFC1-47B2-A777-4ECD86709B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5615" y="153231"/>
            <a:ext cx="9351034" cy="76271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marL="0" lvl="0"/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CE75E5B-587C-47B8-9DF0-0D4FB516C06E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959A29C-D739-4891-A09E-E4357327D8A5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655F36E7-2A05-46D3-A43E-05AC2115B64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12926" y="6529126"/>
            <a:ext cx="997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C3A48C-96BA-4AFF-8582-CCF42388BC64}" type="datetime1">
              <a:rPr lang="en-US" smtClean="0"/>
              <a:t>7/29/2022</a:t>
            </a:fld>
            <a:endParaRPr lang="en-US" dirty="0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4674F0C8-FE60-4ABD-9A4A-B8BD70AD6554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FEFBD47C-0247-4C52-A1FB-C6F054B5FD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343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B7A9FAA1-FB38-49AE-8480-236A11523C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F3B873A-B447-4FAD-8DCE-EE94BA9D211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1871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  <p:sldLayoutId id="2147483802" r:id="rId2"/>
    <p:sldLayoutId id="214748380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 smtClean="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2800" kern="120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800" kern="1200" smtClean="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800" kern="120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800" kern="1200" smtClean="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2800" kern="1200" dirty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75" y="153230"/>
            <a:ext cx="10964174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E72BE1-20FB-4C12-A004-6B617A098B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2474" y="1285424"/>
            <a:ext cx="10964173" cy="45615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Date Placeholder 10">
            <a:extLst>
              <a:ext uri="{FF2B5EF4-FFF2-40B4-BE49-F238E27FC236}">
                <a16:creationId xmlns:a16="http://schemas.microsoft.com/office/drawing/2014/main" id="{6C97D2B7-7E72-4531-A79B-84ACC09DB2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85F9E2-D9B2-4764-B4FC-E898000E2348}" type="datetime1">
              <a:rPr lang="en-US" smtClean="0"/>
              <a:t>7/29/2022</a:t>
            </a:fld>
            <a:endParaRPr lang="en-US"/>
          </a:p>
        </p:txBody>
      </p:sp>
      <p:sp>
        <p:nvSpPr>
          <p:cNvPr id="12" name="Footer Placeholder 11">
            <a:extLst>
              <a:ext uri="{FF2B5EF4-FFF2-40B4-BE49-F238E27FC236}">
                <a16:creationId xmlns:a16="http://schemas.microsoft.com/office/drawing/2014/main" id="{FDCB5BAF-9D9E-4C5F-AE37-8774C83E21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3430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63DE7BEB-A03C-4C8E-B7F2-286276E879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3B873A-B447-4FAD-8DCE-EE94BA9D21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9231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  <p:sldLayoutId id="2147483808" r:id="rId3"/>
    <p:sldLayoutId id="2147483809" r:id="rId4"/>
    <p:sldLayoutId id="2147483810" r:id="rId5"/>
    <p:sldLayoutId id="2147483811" r:id="rId6"/>
    <p:sldLayoutId id="2147483812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Clr>
          <a:schemeClr val="accent2"/>
        </a:buClr>
        <a:buFont typeface="Wingdings" panose="05000000000000000000" pitchFamily="2" charset="2"/>
        <a:buNone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 smtClean="0">
          <a:solidFill>
            <a:schemeClr val="accent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2"/>
        </a:buClr>
        <a:buFont typeface="Wingdings" panose="05000000000000000000" pitchFamily="2" charset="2"/>
        <a:buChar char="§"/>
        <a:defRPr lang="en-US" sz="2800" kern="1200" dirty="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le Placeholder 1">
            <a:extLst>
              <a:ext uri="{FF2B5EF4-FFF2-40B4-BE49-F238E27FC236}">
                <a16:creationId xmlns:a16="http://schemas.microsoft.com/office/drawing/2014/main" id="{454A4CF6-1400-408E-85CA-7112B6E09A9B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1755775" y="244477"/>
            <a:ext cx="9598025" cy="709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8195" name="Text Placeholder 2">
            <a:extLst>
              <a:ext uri="{FF2B5EF4-FFF2-40B4-BE49-F238E27FC236}">
                <a16:creationId xmlns:a16="http://schemas.microsoft.com/office/drawing/2014/main" id="{A97FBFA2-F9D3-452E-B3EB-7F241379CF67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7F7EA2-8805-4D6B-8E11-196AFFCF1D4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29390"/>
            <a:ext cx="2743200" cy="1920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899B96-6A65-4742-B3BF-A1BCB5BA3B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29390"/>
            <a:ext cx="4114800" cy="1920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66EB9-B97A-4F4F-AC28-88E275B913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29390"/>
            <a:ext cx="2743200" cy="1920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81F8BD8-D774-41E0-8FCB-7A55AE00C5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6887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7" r:id="rId5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 kern="1200">
          <a:solidFill>
            <a:srgbClr val="3C6EBE"/>
          </a:solidFill>
          <a:latin typeface="Open Sans Semibold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5pPr>
      <a:lvl6pPr marL="342900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6pPr>
      <a:lvl7pPr marL="685800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7pPr>
      <a:lvl8pPr marL="1028700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8pPr>
      <a:lvl9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rgbClr val="3C6EBE"/>
          </a:solidFill>
          <a:latin typeface="Open Sans Semibold"/>
        </a:defRPr>
      </a:lvl9pPr>
    </p:titleStyle>
    <p:bodyStyle>
      <a:lvl1pPr marL="171450" indent="-171450" algn="l" rtl="0" eaLnBrk="0" fontAlgn="base" hangingPunct="0">
        <a:lnSpc>
          <a:spcPct val="90000"/>
        </a:lnSpc>
        <a:spcBef>
          <a:spcPts val="750"/>
        </a:spcBef>
        <a:spcAft>
          <a:spcPct val="0"/>
        </a:spcAft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lnSpc>
          <a:spcPct val="90000"/>
        </a:lnSpc>
        <a:spcBef>
          <a:spcPts val="375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A6E2528-B88D-42A2-9CA7-F74DCCE93D6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590051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4" imgW="425" imgH="424" progId="TCLayout.ActiveDocument.1">
                  <p:embed/>
                </p:oleObj>
              </mc:Choice>
              <mc:Fallback>
                <p:oleObj name="think-cell Slide" r:id="rId34" imgW="425" imgH="42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A6E2528-B88D-42A2-9CA7-F74DCCE93D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99961B56-0944-4ED4-B572-DAFDB0B8AE02}" type="datetime1">
              <a:rPr lang="en-US" smtClean="0"/>
              <a:t>7/29/2022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D7A61B55-04D1-43A3-A468-E0382CAB50C0}" type="slidenum">
              <a:rPr lang="en-US" smtClean="0"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264387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9" r:id="rId1"/>
    <p:sldLayoutId id="2147483830" r:id="rId2"/>
    <p:sldLayoutId id="2147483831" r:id="rId3"/>
    <p:sldLayoutId id="2147483832" r:id="rId4"/>
    <p:sldLayoutId id="2147483833" r:id="rId5"/>
    <p:sldLayoutId id="2147483834" r:id="rId6"/>
    <p:sldLayoutId id="2147483835" r:id="rId7"/>
    <p:sldLayoutId id="2147483836" r:id="rId8"/>
    <p:sldLayoutId id="2147483837" r:id="rId9"/>
    <p:sldLayoutId id="2147483838" r:id="rId10"/>
    <p:sldLayoutId id="2147483839" r:id="rId11"/>
    <p:sldLayoutId id="2147483840" r:id="rId12"/>
    <p:sldLayoutId id="2147483841" r:id="rId13"/>
    <p:sldLayoutId id="2147483842" r:id="rId14"/>
    <p:sldLayoutId id="2147483843" r:id="rId15"/>
    <p:sldLayoutId id="2147483844" r:id="rId16"/>
    <p:sldLayoutId id="2147483845" r:id="rId17"/>
    <p:sldLayoutId id="2147483846" r:id="rId18"/>
    <p:sldLayoutId id="2147483847" r:id="rId19"/>
    <p:sldLayoutId id="2147483848" r:id="rId20"/>
    <p:sldLayoutId id="2147483849" r:id="rId21"/>
    <p:sldLayoutId id="2147483850" r:id="rId22"/>
    <p:sldLayoutId id="2147483851" r:id="rId23"/>
    <p:sldLayoutId id="2147483852" r:id="rId24"/>
    <p:sldLayoutId id="2147483853" r:id="rId25"/>
    <p:sldLayoutId id="2147483854" r:id="rId26"/>
    <p:sldLayoutId id="2147483855" r:id="rId27"/>
    <p:sldLayoutId id="2147483856" r:id="rId28"/>
    <p:sldLayoutId id="2147483857" r:id="rId29"/>
    <p:sldLayoutId id="2147483858" r:id="rId30"/>
    <p:sldLayoutId id="2147483859" r:id="rId3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snyder-summer-schedule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5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4" Type="http://schemas.openxmlformats.org/officeDocument/2006/relationships/hyperlink" Target="http://bit.ly/garland-isd-calendar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aldine-isd-calendar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40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13" Type="http://schemas.openxmlformats.org/officeDocument/2006/relationships/image" Target="../media/image60.svg"/><Relationship Id="rId3" Type="http://schemas.openxmlformats.org/officeDocument/2006/relationships/image" Target="../media/image50.svg"/><Relationship Id="rId7" Type="http://schemas.openxmlformats.org/officeDocument/2006/relationships/image" Target="../media/image54.svg"/><Relationship Id="rId12" Type="http://schemas.openxmlformats.org/officeDocument/2006/relationships/image" Target="../media/image59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53.png"/><Relationship Id="rId11" Type="http://schemas.openxmlformats.org/officeDocument/2006/relationships/image" Target="../media/image58.svg"/><Relationship Id="rId5" Type="http://schemas.openxmlformats.org/officeDocument/2006/relationships/image" Target="../media/image52.svg"/><Relationship Id="rId15" Type="http://schemas.openxmlformats.org/officeDocument/2006/relationships/image" Target="../media/image62.sv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svg"/><Relationship Id="rId1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svg"/><Relationship Id="rId7" Type="http://schemas.openxmlformats.org/officeDocument/2006/relationships/image" Target="../media/image69.svg"/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68.png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hyperlink" Target="mailto:adsy@tea.texas.gov" TargetMode="External"/><Relationship Id="rId2" Type="http://schemas.openxmlformats.org/officeDocument/2006/relationships/hyperlink" Target="https://tea.texas.gov/adsy" TargetMode="External"/><Relationship Id="rId1" Type="http://schemas.openxmlformats.org/officeDocument/2006/relationships/slideLayout" Target="../slideLayouts/slideLayout3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41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Relationship Id="rId14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F73958-7063-422D-94A8-905776F88F0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030819" y="3875964"/>
            <a:ext cx="8870861" cy="2389625"/>
          </a:xfrm>
        </p:spPr>
        <p:txBody>
          <a:bodyPr/>
          <a:lstStyle/>
          <a:p>
            <a:r>
              <a:rPr lang="en-US" dirty="0"/>
              <a:t>Additional Days School Year</a:t>
            </a:r>
            <a:br>
              <a:rPr lang="en-US" dirty="0"/>
            </a:br>
            <a:r>
              <a:rPr lang="en-US" dirty="0"/>
              <a:t>Overview</a:t>
            </a:r>
            <a:br>
              <a:rPr lang="en-US" dirty="0"/>
            </a:br>
            <a:r>
              <a:rPr lang="en-US" b="0" dirty="0"/>
              <a:t>August 3, 2022</a:t>
            </a:r>
          </a:p>
        </p:txBody>
      </p:sp>
    </p:spTree>
    <p:extLst>
      <p:ext uri="{BB962C8B-B14F-4D97-AF65-F5344CB8AC3E}">
        <p14:creationId xmlns:p14="http://schemas.microsoft.com/office/powerpoint/2010/main" val="10885319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425BE7-E686-483D-9094-407B29A949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Y Design Consideration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81B1433-6C6D-413E-B20D-C9D940B7AC40}"/>
              </a:ext>
            </a:extLst>
          </p:cNvPr>
          <p:cNvSpPr/>
          <p:nvPr/>
        </p:nvSpPr>
        <p:spPr>
          <a:xfrm>
            <a:off x="2240279" y="2769888"/>
            <a:ext cx="9677401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2: Intersessional Calendar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Targeted Remediatio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 days spaced out over the full year, with intermittent breaks for targeted remediation with a subset of studen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143A811-0FFC-4590-87B6-8B2B3F70EE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8441" y="1267143"/>
            <a:ext cx="1264783" cy="10628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0327A0DC-3357-4813-AB60-A4F0AA16FB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669" y="4668405"/>
            <a:ext cx="1142327" cy="1062842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529AC06C-543D-4FAC-ACB8-FCB6736BAA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547243" y="2935555"/>
            <a:ext cx="1447178" cy="872254"/>
            <a:chOff x="578905" y="3789452"/>
            <a:chExt cx="1520075" cy="885418"/>
          </a:xfrm>
        </p:grpSpPr>
        <p:sp>
          <p:nvSpPr>
            <p:cNvPr id="8" name="Rectangle: Rounded Corners 7">
              <a:extLst>
                <a:ext uri="{FF2B5EF4-FFF2-40B4-BE49-F238E27FC236}">
                  <a16:creationId xmlns:a16="http://schemas.microsoft.com/office/drawing/2014/main" id="{D74B37FD-24DD-475E-8A43-685D9D42415F}"/>
                </a:ext>
              </a:extLst>
            </p:cNvPr>
            <p:cNvSpPr/>
            <p:nvPr/>
          </p:nvSpPr>
          <p:spPr>
            <a:xfrm>
              <a:off x="578905" y="4206240"/>
              <a:ext cx="1073200" cy="4686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40A7FEBF-85D0-4F96-87AE-3F27EA4CF39F}"/>
                </a:ext>
              </a:extLst>
            </p:cNvPr>
            <p:cNvSpPr/>
            <p:nvPr/>
          </p:nvSpPr>
          <p:spPr>
            <a:xfrm>
              <a:off x="1676070" y="4206240"/>
              <a:ext cx="422910" cy="468630"/>
            </a:xfrm>
            <a:prstGeom prst="roundRect">
              <a:avLst/>
            </a:prstGeom>
            <a:solidFill>
              <a:srgbClr val="662B9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Arrow: U-Turn 9">
              <a:extLst>
                <a:ext uri="{FF2B5EF4-FFF2-40B4-BE49-F238E27FC236}">
                  <a16:creationId xmlns:a16="http://schemas.microsoft.com/office/drawing/2014/main" id="{CA5D3B98-6086-4D4E-BECF-3E1A2CB86607}"/>
                </a:ext>
              </a:extLst>
            </p:cNvPr>
            <p:cNvSpPr/>
            <p:nvPr/>
          </p:nvSpPr>
          <p:spPr>
            <a:xfrm>
              <a:off x="1034988" y="3789452"/>
              <a:ext cx="871945" cy="371067"/>
            </a:xfrm>
            <a:prstGeom prst="uturnArrow">
              <a:avLst>
                <a:gd name="adj1" fmla="val 22594"/>
                <a:gd name="adj2" fmla="val 25000"/>
                <a:gd name="adj3" fmla="val 25000"/>
                <a:gd name="adj4" fmla="val 56272"/>
                <a:gd name="adj5" fmla="val 93153"/>
              </a:avLst>
            </a:prstGeom>
            <a:solidFill>
              <a:srgbClr val="662B91"/>
            </a:solidFill>
            <a:scene3d>
              <a:camera prst="orthographicFront">
                <a:rot lat="0" lon="108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36FDB9E0-139E-4A6C-B15D-D02B97A8BDE7}"/>
              </a:ext>
            </a:extLst>
          </p:cNvPr>
          <p:cNvSpPr/>
          <p:nvPr/>
        </p:nvSpPr>
        <p:spPr>
          <a:xfrm>
            <a:off x="2240279" y="1083097"/>
            <a:ext cx="9211473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prstClr val="black"/>
              </a:buClr>
              <a:buSzPts val="2800"/>
            </a:pPr>
            <a:r>
              <a:rPr lang="en-US" sz="2800" b="1" dirty="0">
                <a:solidFill>
                  <a:srgbClr val="1682C5"/>
                </a:solidFill>
                <a:cs typeface="Calibri"/>
                <a:sym typeface="Calibri"/>
              </a:rPr>
              <a:t>Option 1: Summer Learning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 dirty="0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 dirty="0">
                <a:solidFill>
                  <a:srgbClr val="7030A0"/>
                </a:solidFill>
                <a:cs typeface="Calibri"/>
                <a:sym typeface="Calibri"/>
              </a:rPr>
              <a:t>:</a:t>
            </a:r>
            <a:r>
              <a:rPr lang="en-US" sz="2400" dirty="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 Summer Enrichment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 dirty="0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 dirty="0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 dirty="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-day traditional calendar, and up to 30 days for something additiona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C32B7B4-12D9-459F-9279-34F417AE355A}"/>
              </a:ext>
            </a:extLst>
          </p:cNvPr>
          <p:cNvSpPr/>
          <p:nvPr/>
        </p:nvSpPr>
        <p:spPr>
          <a:xfrm>
            <a:off x="2240278" y="4417106"/>
            <a:ext cx="9107129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 dirty="0">
                <a:solidFill>
                  <a:srgbClr val="1682C5"/>
                </a:solidFill>
                <a:cs typeface="Calibri"/>
                <a:sym typeface="Calibri"/>
              </a:rPr>
              <a:t>Option 3: Full Year Redesig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 dirty="0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 dirty="0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 dirty="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Rethinking the School Day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 dirty="0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 dirty="0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 dirty="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A revamped 7x6-weeks calendar, daily schedule changes to increase teacher planning time and student play</a:t>
            </a:r>
          </a:p>
        </p:txBody>
      </p:sp>
      <p:sp>
        <p:nvSpPr>
          <p:cNvPr id="13" name="Slide Number Placeholder 2">
            <a:extLst>
              <a:ext uri="{FF2B5EF4-FFF2-40B4-BE49-F238E27FC236}">
                <a16:creationId xmlns:a16="http://schemas.microsoft.com/office/drawing/2014/main" id="{85D8DC00-0F65-49E4-8371-196083F658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529126"/>
            <a:ext cx="2743200" cy="365125"/>
          </a:xfrm>
        </p:spPr>
        <p:txBody>
          <a:bodyPr/>
          <a:lstStyle/>
          <a:p>
            <a:fld id="{FF3B873A-B447-4FAD-8DCE-EE94BA9D2118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7140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1" grpId="0"/>
      <p:bldP spid="1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DC4C1-3D7B-4831-AB65-B22E50EBD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er Program Examp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892D4D-4AF4-4219-A8E2-30B894F6B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11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52D4F5-3288-4184-A999-520E6EB305C4}"/>
              </a:ext>
            </a:extLst>
          </p:cNvPr>
          <p:cNvSpPr/>
          <p:nvPr/>
        </p:nvSpPr>
        <p:spPr>
          <a:xfrm>
            <a:off x="6686550" y="904580"/>
            <a:ext cx="5076825" cy="4972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 dirty="0">
                <a:solidFill>
                  <a:schemeClr val="tx1"/>
                </a:solidFill>
              </a:rPr>
              <a:t> Snyder ISD – 2021-2022 Calendar</a:t>
            </a:r>
          </a:p>
          <a:p>
            <a:pPr algn="ctr"/>
            <a:r>
              <a:rPr lang="en-US" i="1" dirty="0">
                <a:solidFill>
                  <a:schemeClr val="tx1"/>
                </a:solidFill>
              </a:rPr>
              <a:t>30 Additional Days through Summer Program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Last Day of Academic Year: </a:t>
            </a:r>
            <a:r>
              <a:rPr lang="en-US" dirty="0">
                <a:solidFill>
                  <a:schemeClr val="tx1"/>
                </a:solidFill>
              </a:rPr>
              <a:t>June 11, 2021</a:t>
            </a:r>
          </a:p>
          <a:p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Summer Dates: </a:t>
            </a:r>
            <a:r>
              <a:rPr lang="en-US" dirty="0">
                <a:solidFill>
                  <a:schemeClr val="tx1"/>
                </a:solidFill>
              </a:rPr>
              <a:t>June 14 – July 30, 2021</a:t>
            </a:r>
          </a:p>
          <a:p>
            <a:r>
              <a:rPr lang="en-US" i="1" dirty="0">
                <a:solidFill>
                  <a:schemeClr val="tx1"/>
                </a:solidFill>
              </a:rPr>
              <a:t>Program follows evidence-based practices from RAND Getting to Work on Summer Learning (minimum of 25 six-hour days)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Start of Following Year: </a:t>
            </a:r>
            <a:r>
              <a:rPr lang="en-US" dirty="0">
                <a:solidFill>
                  <a:schemeClr val="tx1"/>
                </a:solidFill>
              </a:rPr>
              <a:t>August 11, 2021</a:t>
            </a:r>
          </a:p>
          <a:p>
            <a:endParaRPr lang="en-US" b="1" dirty="0">
              <a:solidFill>
                <a:schemeClr val="tx1"/>
              </a:solidFill>
            </a:endParaRPr>
          </a:p>
          <a:p>
            <a:r>
              <a:rPr lang="en-US" b="1" dirty="0">
                <a:solidFill>
                  <a:schemeClr val="tx1"/>
                </a:solidFill>
              </a:rPr>
              <a:t>Length of Summer Break: </a:t>
            </a:r>
            <a:r>
              <a:rPr lang="en-US" dirty="0">
                <a:solidFill>
                  <a:schemeClr val="tx1"/>
                </a:solidFill>
              </a:rPr>
              <a:t> 1.5 weeks for students in Summer Intersession, 8.5 weeks for other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pPr algn="ctr"/>
            <a:r>
              <a:rPr lang="en-US" b="1" i="1" dirty="0">
                <a:hlinkClick r:id="rId3"/>
              </a:rPr>
              <a:t>bit.ly/</a:t>
            </a:r>
            <a:r>
              <a:rPr lang="en-US" b="1" i="1" dirty="0" err="1">
                <a:hlinkClick r:id="rId3"/>
              </a:rPr>
              <a:t>snyder</a:t>
            </a:r>
            <a:r>
              <a:rPr lang="en-US" b="1" i="1" dirty="0">
                <a:hlinkClick r:id="rId3"/>
              </a:rPr>
              <a:t>-summer-schedule</a:t>
            </a:r>
            <a:endParaRPr lang="en-US" b="1" i="1" dirty="0"/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40D7EF-327F-45C6-80E2-0AB36B268A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690356" y="1074560"/>
            <a:ext cx="3815095" cy="4802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92631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DC4C1-3D7B-4831-AB65-B22E50EBD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ersessional Calendar Examp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892D4D-4AF4-4219-A8E2-30B894F6B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12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8F0206C-2146-4C51-916C-88DAC23273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57349" y="884970"/>
            <a:ext cx="3924302" cy="508806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C52D4F5-3288-4184-A999-520E6EB305C4}"/>
              </a:ext>
            </a:extLst>
          </p:cNvPr>
          <p:cNvSpPr/>
          <p:nvPr/>
        </p:nvSpPr>
        <p:spPr>
          <a:xfrm>
            <a:off x="6686550" y="904580"/>
            <a:ext cx="5076825" cy="4972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Garland ISD – 2021-2022 Calendar</a:t>
            </a:r>
          </a:p>
          <a:p>
            <a:pPr algn="ctr"/>
            <a:r>
              <a:rPr lang="en-US" i="1">
                <a:solidFill>
                  <a:schemeClr val="tx1"/>
                </a:solidFill>
              </a:rPr>
              <a:t>22 Additional Days through Intersessions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Start Date: </a:t>
            </a:r>
            <a:r>
              <a:rPr lang="en-US">
                <a:solidFill>
                  <a:schemeClr val="tx1"/>
                </a:solidFill>
              </a:rPr>
              <a:t>August 2, 2021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Intersessions:</a:t>
            </a:r>
          </a:p>
          <a:p>
            <a:r>
              <a:rPr lang="en-US">
                <a:solidFill>
                  <a:schemeClr val="tx1"/>
                </a:solidFill>
              </a:rPr>
              <a:t>9/27 – 10/1 – Fall Intersession</a:t>
            </a:r>
          </a:p>
          <a:p>
            <a:r>
              <a:rPr lang="en-US">
                <a:solidFill>
                  <a:schemeClr val="tx1"/>
                </a:solidFill>
              </a:rPr>
              <a:t>1/3 – 1/6 – Winter Intersession</a:t>
            </a:r>
          </a:p>
          <a:p>
            <a:r>
              <a:rPr lang="en-US">
                <a:solidFill>
                  <a:schemeClr val="tx1"/>
                </a:solidFill>
              </a:rPr>
              <a:t>3/7 – 3/11 – Spring Intersession</a:t>
            </a:r>
          </a:p>
          <a:p>
            <a:r>
              <a:rPr lang="en-US">
                <a:solidFill>
                  <a:schemeClr val="tx1"/>
                </a:solidFill>
              </a:rPr>
              <a:t>6/13 – 6/23 – Summer Intersession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End Date: </a:t>
            </a:r>
            <a:r>
              <a:rPr lang="en-US">
                <a:solidFill>
                  <a:schemeClr val="tx1"/>
                </a:solidFill>
              </a:rPr>
              <a:t>6/9/22 for all students, 6/23/22 for students in Summer Intersession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Length of Summer Break: </a:t>
            </a:r>
            <a:r>
              <a:rPr lang="en-US">
                <a:solidFill>
                  <a:schemeClr val="tx1"/>
                </a:solidFill>
              </a:rPr>
              <a:t>7 weeks for students in Summer Intersession, 9 weeks for others</a:t>
            </a:r>
          </a:p>
          <a:p>
            <a:endParaRPr lang="en-US">
              <a:solidFill>
                <a:schemeClr val="tx1"/>
              </a:solidFill>
            </a:endParaRPr>
          </a:p>
          <a:p>
            <a:pPr algn="ctr"/>
            <a:r>
              <a:rPr lang="en-US" b="1" i="1">
                <a:hlinkClick r:id="rId4"/>
              </a:rPr>
              <a:t>bit.ly/garland-</a:t>
            </a:r>
            <a:r>
              <a:rPr lang="en-US" b="1" i="1" err="1">
                <a:hlinkClick r:id="rId4"/>
              </a:rPr>
              <a:t>isd</a:t>
            </a:r>
            <a:r>
              <a:rPr lang="en-US" b="1" i="1">
                <a:hlinkClick r:id="rId4"/>
              </a:rPr>
              <a:t>-calendar</a:t>
            </a:r>
            <a:endParaRPr lang="en-US" b="1" i="1"/>
          </a:p>
          <a:p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4375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ADC4C1-3D7B-4831-AB65-B22E50EBD8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ull Year Redesign Calendar Examp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F892D4D-4AF4-4219-A8E2-30B894F6B7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13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C52D4F5-3288-4184-A999-520E6EB305C4}"/>
              </a:ext>
            </a:extLst>
          </p:cNvPr>
          <p:cNvSpPr/>
          <p:nvPr/>
        </p:nvSpPr>
        <p:spPr>
          <a:xfrm>
            <a:off x="6686550" y="904580"/>
            <a:ext cx="5076825" cy="497234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n-US" b="1">
                <a:solidFill>
                  <a:schemeClr val="tx1"/>
                </a:solidFill>
              </a:rPr>
              <a:t>Aldine ISD – 2021-2022 Calendar</a:t>
            </a:r>
          </a:p>
          <a:p>
            <a:pPr algn="ctr"/>
            <a:r>
              <a:rPr lang="en-US" i="1">
                <a:solidFill>
                  <a:schemeClr val="tx1"/>
                </a:solidFill>
              </a:rPr>
              <a:t>30 Additional Days through Full Year Redesign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Start Date: </a:t>
            </a:r>
            <a:r>
              <a:rPr lang="en-US">
                <a:solidFill>
                  <a:schemeClr val="tx1"/>
                </a:solidFill>
              </a:rPr>
              <a:t>July 9, 2021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Additional Days: </a:t>
            </a:r>
            <a:r>
              <a:rPr lang="en-US">
                <a:solidFill>
                  <a:schemeClr val="tx1"/>
                </a:solidFill>
              </a:rPr>
              <a:t>Wednesdays throughout the school year (minimizes attendance risks for non-compulsory ADSY funding)</a:t>
            </a:r>
            <a:endParaRPr lang="en-US" b="1">
              <a:solidFill>
                <a:schemeClr val="tx1"/>
              </a:solidFill>
            </a:endParaRP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End Date: </a:t>
            </a:r>
            <a:r>
              <a:rPr lang="en-US">
                <a:solidFill>
                  <a:schemeClr val="tx1"/>
                </a:solidFill>
              </a:rPr>
              <a:t>6/9/22</a:t>
            </a:r>
          </a:p>
          <a:p>
            <a:endParaRPr lang="en-US">
              <a:solidFill>
                <a:schemeClr val="tx1"/>
              </a:solidFill>
            </a:endParaRPr>
          </a:p>
          <a:p>
            <a:r>
              <a:rPr lang="en-US" b="1">
                <a:solidFill>
                  <a:schemeClr val="tx1"/>
                </a:solidFill>
              </a:rPr>
              <a:t>Length of Summer Break: </a:t>
            </a:r>
            <a:r>
              <a:rPr lang="en-US">
                <a:solidFill>
                  <a:schemeClr val="tx1"/>
                </a:solidFill>
              </a:rPr>
              <a:t>4 weeks for all students</a:t>
            </a:r>
          </a:p>
          <a:p>
            <a:endParaRPr lang="en-US">
              <a:solidFill>
                <a:schemeClr val="tx1"/>
              </a:solidFill>
            </a:endParaRPr>
          </a:p>
          <a:p>
            <a:pPr algn="ctr"/>
            <a:r>
              <a:rPr lang="en-US" b="1" i="1">
                <a:hlinkClick r:id="rId3"/>
              </a:rPr>
              <a:t>bit.ly/aldine-</a:t>
            </a:r>
            <a:r>
              <a:rPr lang="en-US" b="1" i="1" err="1">
                <a:hlinkClick r:id="rId3"/>
              </a:rPr>
              <a:t>isd</a:t>
            </a:r>
            <a:r>
              <a:rPr lang="en-US" b="1" i="1">
                <a:hlinkClick r:id="rId3"/>
              </a:rPr>
              <a:t>-calendar</a:t>
            </a:r>
            <a:endParaRPr lang="en-US" b="1" i="1"/>
          </a:p>
          <a:p>
            <a:endParaRPr lang="en-US">
              <a:solidFill>
                <a:schemeClr val="tx1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717C704-9B34-468A-A080-D7D0810442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28788" y="904580"/>
            <a:ext cx="3841450" cy="4972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892007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45C811B-3A76-43E5-83A7-6E4C6838D5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DSY Planning and Execution Program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486A8-3C7E-4745-B2FD-36B4D2D3A48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589614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D1301C-14D6-42D4-A292-0328D36290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Y Planning and Execution Program </a:t>
            </a:r>
            <a:r>
              <a:rPr lang="en-US" dirty="0">
                <a:solidFill>
                  <a:schemeClr val="bg1"/>
                </a:solidFill>
              </a:rPr>
              <a:t>cont.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AF9BB7C-DEA6-4BCE-9034-BE0E5F1F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B873A-B447-4FAD-8DCE-EE94BA9D21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DSY Planning and Execution Program">
            <a:extLst>
              <a:ext uri="{FF2B5EF4-FFF2-40B4-BE49-F238E27FC236}">
                <a16:creationId xmlns:a16="http://schemas.microsoft.com/office/drawing/2014/main" id="{09465E0A-70B6-F390-CB25-600B0F0C09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2301" y="904580"/>
            <a:ext cx="11851574" cy="5074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0110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54DDC4-2CD2-4534-8E1A-E6E0823B20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Y PEP Componen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3DDFC19-82B3-42AA-A534-02BF458FA372}"/>
              </a:ext>
            </a:extLst>
          </p:cNvPr>
          <p:cNvSpPr/>
          <p:nvPr/>
        </p:nvSpPr>
        <p:spPr>
          <a:xfrm>
            <a:off x="748451" y="1351085"/>
            <a:ext cx="5215932" cy="45671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gram Benefits Involving Use of Grant Funds 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CEFBA07-6C7D-4C1C-93BC-0E5BB0BA59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55446" y="1930759"/>
            <a:ext cx="946641" cy="1175572"/>
            <a:chOff x="955446" y="2690040"/>
            <a:chExt cx="946641" cy="117557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B97E939F-FF37-4373-BF21-5683A9F131A8}"/>
                </a:ext>
              </a:extLst>
            </p:cNvPr>
            <p:cNvSpPr/>
            <p:nvPr/>
          </p:nvSpPr>
          <p:spPr>
            <a:xfrm>
              <a:off x="955446" y="2690040"/>
              <a:ext cx="946641" cy="11388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ADFB7051-B831-4740-B16F-205DACFD0CD0}"/>
                </a:ext>
              </a:extLst>
            </p:cNvPr>
            <p:cNvGrpSpPr/>
            <p:nvPr/>
          </p:nvGrpSpPr>
          <p:grpSpPr>
            <a:xfrm>
              <a:off x="1053460" y="2690040"/>
              <a:ext cx="718372" cy="1175572"/>
              <a:chOff x="1053460" y="3334279"/>
              <a:chExt cx="718372" cy="1175572"/>
            </a:xfrm>
          </p:grpSpPr>
          <p:pic>
            <p:nvPicPr>
              <p:cNvPr id="8" name="Graphic 7" descr="Female Profile">
                <a:extLst>
                  <a:ext uri="{FF2B5EF4-FFF2-40B4-BE49-F238E27FC236}">
                    <a16:creationId xmlns:a16="http://schemas.microsoft.com/office/drawing/2014/main" id="{03D135C4-3EEB-4ED8-9C0D-44EEA811C7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1110427" y="3334279"/>
                <a:ext cx="604438" cy="604438"/>
              </a:xfrm>
              <a:prstGeom prst="rect">
                <a:avLst/>
              </a:prstGeom>
            </p:spPr>
          </p:pic>
          <p:pic>
            <p:nvPicPr>
              <p:cNvPr id="9" name="Graphic 8" descr="Users">
                <a:extLst>
                  <a:ext uri="{FF2B5EF4-FFF2-40B4-BE49-F238E27FC236}">
                    <a16:creationId xmlns:a16="http://schemas.microsoft.com/office/drawing/2014/main" id="{DC7BD99E-9B55-4388-865A-9B150B47158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053460" y="3791479"/>
                <a:ext cx="718372" cy="718372"/>
              </a:xfrm>
              <a:prstGeom prst="rect">
                <a:avLst/>
              </a:prstGeom>
            </p:spPr>
          </p:pic>
        </p:grpSp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17728D0E-966D-4970-8882-523377903318}"/>
              </a:ext>
            </a:extLst>
          </p:cNvPr>
          <p:cNvSpPr txBox="1"/>
          <p:nvPr/>
        </p:nvSpPr>
        <p:spPr>
          <a:xfrm>
            <a:off x="2066723" y="2065872"/>
            <a:ext cx="31692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SY Project Manager and Steering Committee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2841D71-5700-46EB-B204-4E438312E20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55446" y="3234602"/>
            <a:ext cx="946641" cy="1138863"/>
            <a:chOff x="6344864" y="4074927"/>
            <a:chExt cx="946641" cy="113886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A07524D-B234-45C9-8509-E830FAA3DC97}"/>
                </a:ext>
              </a:extLst>
            </p:cNvPr>
            <p:cNvSpPr/>
            <p:nvPr/>
          </p:nvSpPr>
          <p:spPr>
            <a:xfrm>
              <a:off x="6344864" y="4074927"/>
              <a:ext cx="946641" cy="11388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1" name="Graphic 20" descr="Group brainstorm">
              <a:extLst>
                <a:ext uri="{FF2B5EF4-FFF2-40B4-BE49-F238E27FC236}">
                  <a16:creationId xmlns:a16="http://schemas.microsoft.com/office/drawing/2014/main" id="{BA4E373B-FD73-4073-B5D2-8DED2CDA584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6355773" y="4188777"/>
              <a:ext cx="914400" cy="914400"/>
            </a:xfrm>
            <a:prstGeom prst="rect">
              <a:avLst/>
            </a:prstGeom>
          </p:spPr>
        </p:pic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32E13BF3-8AA1-4D68-9B8F-203906D14434}"/>
              </a:ext>
            </a:extLst>
          </p:cNvPr>
          <p:cNvSpPr txBox="1"/>
          <p:nvPr/>
        </p:nvSpPr>
        <p:spPr>
          <a:xfrm>
            <a:off x="2098964" y="3371055"/>
            <a:ext cx="31692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roved Technical Assistance Vendor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43E501A-09B3-49C5-A94A-0A200D7B08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955446" y="4494587"/>
            <a:ext cx="946641" cy="1138863"/>
            <a:chOff x="6355773" y="2690040"/>
            <a:chExt cx="946641" cy="113886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A0A57A8-0B27-494E-A7E9-54618F81CAAD}"/>
                </a:ext>
              </a:extLst>
            </p:cNvPr>
            <p:cNvSpPr/>
            <p:nvPr/>
          </p:nvSpPr>
          <p:spPr>
            <a:xfrm>
              <a:off x="6355773" y="2690040"/>
              <a:ext cx="946641" cy="11388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" name="Graphic 12" descr="Meeting">
              <a:extLst>
                <a:ext uri="{FF2B5EF4-FFF2-40B4-BE49-F238E27FC236}">
                  <a16:creationId xmlns:a16="http://schemas.microsoft.com/office/drawing/2014/main" id="{37A7FFDA-69CE-4DB3-A42F-FC77578FD7E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355773" y="2802628"/>
              <a:ext cx="914400" cy="914400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63DD3E35-7DF3-428D-8AC0-831084E7B166}"/>
              </a:ext>
            </a:extLst>
          </p:cNvPr>
          <p:cNvSpPr txBox="1"/>
          <p:nvPr/>
        </p:nvSpPr>
        <p:spPr>
          <a:xfrm>
            <a:off x="2066723" y="4703442"/>
            <a:ext cx="353692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SY Kickoff Summit and Cohort Learning Community Workshop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3E2AAE0-1954-4F14-8330-E5D5CD1294B0}"/>
              </a:ext>
            </a:extLst>
          </p:cNvPr>
          <p:cNvSpPr/>
          <p:nvPr/>
        </p:nvSpPr>
        <p:spPr>
          <a:xfrm>
            <a:off x="6227619" y="1355645"/>
            <a:ext cx="5215932" cy="45671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ditional Program Benefit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0EE3D38A-B9AE-44AC-98CF-7AEE076B1A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491259" y="1928719"/>
            <a:ext cx="946641" cy="1138863"/>
            <a:chOff x="939325" y="3988083"/>
            <a:chExt cx="946641" cy="1138863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9D0BDBB-13DF-4F42-A66E-F821E4A1D13F}"/>
                </a:ext>
              </a:extLst>
            </p:cNvPr>
            <p:cNvSpPr/>
            <p:nvPr/>
          </p:nvSpPr>
          <p:spPr>
            <a:xfrm>
              <a:off x="939325" y="3988083"/>
              <a:ext cx="946641" cy="11388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7" name="Graphic 16" descr="Playbook">
              <a:extLst>
                <a:ext uri="{FF2B5EF4-FFF2-40B4-BE49-F238E27FC236}">
                  <a16:creationId xmlns:a16="http://schemas.microsoft.com/office/drawing/2014/main" id="{B74CF771-C59E-4B0D-BDEF-3A14A7321B0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939325" y="4059373"/>
              <a:ext cx="914400" cy="914400"/>
            </a:xfrm>
            <a:prstGeom prst="rect">
              <a:avLst/>
            </a:prstGeom>
          </p:spPr>
        </p:pic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94E21BD-C26A-47BB-BED6-BF3378F02A47}"/>
              </a:ext>
            </a:extLst>
          </p:cNvPr>
          <p:cNvSpPr txBox="1"/>
          <p:nvPr/>
        </p:nvSpPr>
        <p:spPr>
          <a:xfrm>
            <a:off x="7535602" y="2004316"/>
            <a:ext cx="3169227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SY Strategic Plan Development </a:t>
            </a: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Parts 1 and 2);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nual Reflection and Revision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4362B1CB-2DE5-418F-8C64-085F057AE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03900" y="3193199"/>
            <a:ext cx="946641" cy="1138863"/>
            <a:chOff x="955444" y="5380107"/>
            <a:chExt cx="946641" cy="1138863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359FA9C2-961A-4F72-AD79-BE34144A7DF2}"/>
                </a:ext>
              </a:extLst>
            </p:cNvPr>
            <p:cNvSpPr/>
            <p:nvPr/>
          </p:nvSpPr>
          <p:spPr>
            <a:xfrm>
              <a:off x="955444" y="5380107"/>
              <a:ext cx="946641" cy="11388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5" name="Graphic 24" descr="Tools">
              <a:extLst>
                <a:ext uri="{FF2B5EF4-FFF2-40B4-BE49-F238E27FC236}">
                  <a16:creationId xmlns:a16="http://schemas.microsoft.com/office/drawing/2014/main" id="{078C7A66-9E7E-496F-A32F-D1717A3047E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53460" y="5566031"/>
              <a:ext cx="767014" cy="767014"/>
            </a:xfrm>
            <a:prstGeom prst="rect">
              <a:avLst/>
            </a:prstGeom>
          </p:spPr>
        </p:pic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73048465-9D94-4763-A036-5C3480B2C40A}"/>
              </a:ext>
            </a:extLst>
          </p:cNvPr>
          <p:cNvSpPr txBox="1"/>
          <p:nvPr/>
        </p:nvSpPr>
        <p:spPr>
          <a:xfrm>
            <a:off x="7799688" y="3371055"/>
            <a:ext cx="2881115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SY Planning and Execution Resources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D706B931-689D-4C67-A539-B5CC4A059A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/>
        </p:nvGrpSpPr>
        <p:grpSpPr>
          <a:xfrm>
            <a:off x="6515473" y="4496094"/>
            <a:ext cx="946641" cy="1138863"/>
            <a:chOff x="6323532" y="5373714"/>
            <a:chExt cx="946641" cy="1138863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1F812C4-9D35-43FB-B105-9293D0896621}"/>
                </a:ext>
              </a:extLst>
            </p:cNvPr>
            <p:cNvSpPr/>
            <p:nvPr/>
          </p:nvSpPr>
          <p:spPr>
            <a:xfrm>
              <a:off x="6323532" y="5373714"/>
              <a:ext cx="946641" cy="113886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29" name="Graphic 28" descr="Upward trend">
              <a:extLst>
                <a:ext uri="{FF2B5EF4-FFF2-40B4-BE49-F238E27FC236}">
                  <a16:creationId xmlns:a16="http://schemas.microsoft.com/office/drawing/2014/main" id="{422250EE-09B5-4673-BA09-7B95A230D9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355773" y="5402813"/>
              <a:ext cx="914400" cy="914400"/>
            </a:xfrm>
            <a:prstGeom prst="rect">
              <a:avLst/>
            </a:prstGeom>
          </p:spPr>
        </p:pic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EB5826A1-EF9C-4707-AD74-852639A9B844}"/>
              </a:ext>
            </a:extLst>
          </p:cNvPr>
          <p:cNvSpPr txBox="1"/>
          <p:nvPr/>
        </p:nvSpPr>
        <p:spPr>
          <a:xfrm>
            <a:off x="7799688" y="4703442"/>
            <a:ext cx="31692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going Performance Management Framework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0B56471-3329-4C0A-ADA2-473517BCC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B873A-B447-4FAD-8DCE-EE94BA9D21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867440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4" grpId="0"/>
      <p:bldP spid="31" grpId="0" animBg="1"/>
      <p:bldP spid="18" grpId="0"/>
      <p:bldP spid="26" grpId="0"/>
      <p:bldP spid="3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45C811B-3A76-43E5-83A7-6E4C6838D5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Budgeting for Summer Learning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486A8-3C7E-4745-B2FD-36B4D2D3A48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696902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2" name="Google Shape;462;p58"/>
          <p:cNvSpPr txBox="1">
            <a:spLocks noGrp="1"/>
          </p:cNvSpPr>
          <p:nvPr>
            <p:ph type="title"/>
          </p:nvPr>
        </p:nvSpPr>
        <p:spPr>
          <a:xfrm>
            <a:off x="612475" y="153230"/>
            <a:ext cx="10964100" cy="751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Budgeting Tools - Most Common Sources of Summer Funding</a:t>
            </a:r>
            <a:endParaRPr dirty="0"/>
          </a:p>
        </p:txBody>
      </p:sp>
      <p:sp>
        <p:nvSpPr>
          <p:cNvPr id="463" name="Google Shape;463;p58"/>
          <p:cNvSpPr txBox="1">
            <a:spLocks noGrp="1"/>
          </p:cNvSpPr>
          <p:nvPr>
            <p:ph type="sldNum" idx="12"/>
          </p:nvPr>
        </p:nvSpPr>
        <p:spPr>
          <a:xfrm>
            <a:off x="9210675" y="6529126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18</a:t>
            </a:fld>
            <a:endParaRPr/>
          </a:p>
        </p:txBody>
      </p:sp>
      <p:graphicFrame>
        <p:nvGraphicFramePr>
          <p:cNvPr id="464" name="Google Shape;464;p58"/>
          <p:cNvGraphicFramePr/>
          <p:nvPr>
            <p:extLst>
              <p:ext uri="{D42A27DB-BD31-4B8C-83A1-F6EECF244321}">
                <p14:modId xmlns:p14="http://schemas.microsoft.com/office/powerpoint/2010/main" val="599894880"/>
              </p:ext>
            </p:extLst>
          </p:nvPr>
        </p:nvGraphicFramePr>
        <p:xfrm>
          <a:off x="366300" y="917900"/>
          <a:ext cx="11587575" cy="4992381"/>
        </p:xfrm>
        <a:graphic>
          <a:graphicData uri="http://schemas.openxmlformats.org/drawingml/2006/table">
            <a:tbl>
              <a:tblPr firstRow="1">
                <a:noFill/>
              </a:tblPr>
              <a:tblGrid>
                <a:gridCol w="25333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884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23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0582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5300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3206875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09575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unding Source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deral vs. State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ype of Funding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unding Delivery Method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iming for Receiving Funds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2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und Flexibility Level</a:t>
                      </a:r>
                      <a:r>
                        <a:rPr lang="en-US" sz="12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 </a:t>
                      </a:r>
                      <a:endParaRPr sz="12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4A86E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21st CCLC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deral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Competitive Grant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New grants are awarded in grant cycles every 2-3 years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One grant cycle is five years lo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IGH: Funds can be used for academics or enrichment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381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dditional Days School Year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ndation School Program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funding cycle (including settle-up)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IGH: Funds are dispersed as general revenu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381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arly Education Allotment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ndation School Program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funding cycl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IGH: Funds must go toward improving student performance 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nglish Learner Summer Program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deral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EL units are reimbursed on a prorated basis </a:t>
                      </a:r>
                      <a:endParaRPr sz="1100"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nnually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LOW: Funds must be used on instruction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Compensatory Education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ndation School Program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funding cycl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HIGH: Funds must go toward increasing academic achievement and reducing dropout rates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81025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eacher Incentive Allotment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State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undation School Program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Annually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LOW: Only TIA districts are eligible for this funding. Funds must go toward teacher compensation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552450"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300" b="1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Title Funds </a:t>
                      </a:r>
                      <a:endParaRPr sz="1300" b="1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ederal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Formula Funding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Drawdowns determined by districts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63500" marR="6350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Drawdowns determined by districts </a:t>
                      </a:r>
                      <a:endParaRPr sz="110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lvl="0" indent="0" algn="l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-US" sz="1100" dirty="0">
                          <a:solidFill>
                            <a:srgbClr val="444444"/>
                          </a:solidFill>
                          <a:latin typeface="Calibri"/>
                          <a:ea typeface="Calibri"/>
                          <a:cs typeface="Calibri"/>
                          <a:sym typeface="Calibri"/>
                        </a:rPr>
                        <a:t>VARIES: Fund use is determined by Title Fund </a:t>
                      </a:r>
                      <a:endParaRPr sz="1100" dirty="0">
                        <a:solidFill>
                          <a:srgbClr val="444444"/>
                        </a:solidFill>
                        <a:latin typeface="Calibri"/>
                        <a:ea typeface="Calibri"/>
                        <a:cs typeface="Calibri"/>
                        <a:sym typeface="Calibri"/>
                      </a:endParaRPr>
                    </a:p>
                  </a:txBody>
                  <a:tcPr marL="91425" marR="91425" marT="91425" marB="91425">
                    <a:lnL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solidFill>
                        <a:srgbClr val="000000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49A12-192E-4208-8340-ACD9FD6A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Example: Stacking ADSY with 21</a:t>
            </a:r>
            <a:r>
              <a:rPr lang="en-US" baseline="30000" dirty="0"/>
              <a:t>st</a:t>
            </a:r>
            <a:r>
              <a:rPr lang="en-US" dirty="0"/>
              <a:t> CCLC Fund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34956F-D982-444B-94C9-0C444EBFA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B873A-B447-4FAD-8DCE-EE94BA9D21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A6EE8C0-1038-485C-96E8-37123E393E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00675" y="1423213"/>
            <a:ext cx="9987773" cy="164318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686D723-5B25-4830-959E-3663711E9F58}"/>
              </a:ext>
            </a:extLst>
          </p:cNvPr>
          <p:cNvSpPr txBox="1"/>
          <p:nvPr/>
        </p:nvSpPr>
        <p:spPr>
          <a:xfrm>
            <a:off x="841829" y="3585028"/>
            <a:ext cx="998777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SY funds can be ‘stacked’ with 21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entury/ACE funds in the same day if they are used as a supplemental aspect to the program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SY has a minimum instruction requirement of two hours per day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1</a:t>
            </a:r>
            <a:r>
              <a:rPr kumimoji="0" lang="en-US" sz="2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CCLC requires a four-hour summer day</a:t>
            </a:r>
          </a:p>
        </p:txBody>
      </p:sp>
    </p:spTree>
    <p:extLst>
      <p:ext uri="{BB962C8B-B14F-4D97-AF65-F5344CB8AC3E}">
        <p14:creationId xmlns:p14="http://schemas.microsoft.com/office/powerpoint/2010/main" val="8268746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BDBB28-76CA-6D9D-3F79-C4A972A7E0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Key TEA Personn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0E1FDB6-55BE-3AFD-F47F-A324F2A186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5265" y="1121027"/>
            <a:ext cx="2660693" cy="4793308"/>
          </a:xfrm>
          <a:prstGeom prst="rect">
            <a:avLst/>
          </a:prstGeom>
        </p:spPr>
      </p:pic>
      <p:pic>
        <p:nvPicPr>
          <p:cNvPr id="7" name="Picture 6" descr="ADSY program team names:&#10;Brian Doran&#10;Andrea Wilborn-Nieto&#10;&#10;ADSY Email: ADSY@tea.texas.gov">
            <a:extLst>
              <a:ext uri="{FF2B5EF4-FFF2-40B4-BE49-F238E27FC236}">
                <a16:creationId xmlns:a16="http://schemas.microsoft.com/office/drawing/2014/main" id="{352BBF81-6F17-EC5A-A1D2-DCA0D10968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247910" y="1121027"/>
            <a:ext cx="7346266" cy="4793308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83026B-7D1A-634A-16BA-1A4AC66717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3938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B154BF-5EE3-4FEA-A450-92FE5BBCE8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scal Timeline Consideration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3E00E43-D0D6-4121-A240-84B1E9A143D2}"/>
              </a:ext>
            </a:extLst>
          </p:cNvPr>
          <p:cNvSpPr txBox="1"/>
          <p:nvPr/>
        </p:nvSpPr>
        <p:spPr>
          <a:xfrm>
            <a:off x="742950" y="1143000"/>
            <a:ext cx="1052988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>
                <a:solidFill>
                  <a:schemeClr val="accent1">
                    <a:lumMod val="75000"/>
                  </a:schemeClr>
                </a:solidFill>
              </a:rPr>
              <a:t>There are fiscal considerations around timing of funds (ADSY) or extending use of ESSER funds. It is critical to bring your finance team along as a core member of the planning committee.</a:t>
            </a:r>
          </a:p>
        </p:txBody>
      </p:sp>
      <p:pic>
        <p:nvPicPr>
          <p:cNvPr id="9" name="Graphic 8" descr="Future with solid fill">
            <a:extLst>
              <a:ext uri="{FF2B5EF4-FFF2-40B4-BE49-F238E27FC236}">
                <a16:creationId xmlns:a16="http://schemas.microsoft.com/office/drawing/2014/main" id="{853ED48E-4A07-4E47-BE92-C2FABDE79F6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95355" y="2055888"/>
            <a:ext cx="914400" cy="9144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D330C20-F420-4AA3-A2EB-1713D31D0B59}"/>
              </a:ext>
            </a:extLst>
          </p:cNvPr>
          <p:cNvSpPr txBox="1"/>
          <p:nvPr/>
        </p:nvSpPr>
        <p:spPr>
          <a:xfrm>
            <a:off x="2352680" y="1913009"/>
            <a:ext cx="88058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/>
              <a:t>ADSY Attendance Projections </a:t>
            </a:r>
            <a:r>
              <a:rPr lang="en-US" sz="2000"/>
              <a:t>– Attendance is projected on a biennial basis. If you did not project ADSY attendance for 2021-2022 or 2022-2023 in the winter of 2020, you can still receive ADSY funds, however it would be in the settle-up process after the year is over.</a:t>
            </a:r>
          </a:p>
        </p:txBody>
      </p:sp>
      <p:pic>
        <p:nvPicPr>
          <p:cNvPr id="11" name="Graphic 10" descr="Daily calendar with solid fill">
            <a:extLst>
              <a:ext uri="{FF2B5EF4-FFF2-40B4-BE49-F238E27FC236}">
                <a16:creationId xmlns:a16="http://schemas.microsoft.com/office/drawing/2014/main" id="{B51E8F41-4609-4716-92D2-84FED083394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42980" y="3648363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FEAA296-B288-42B9-B450-26425272C594}"/>
              </a:ext>
            </a:extLst>
          </p:cNvPr>
          <p:cNvSpPr txBox="1"/>
          <p:nvPr/>
        </p:nvSpPr>
        <p:spPr>
          <a:xfrm>
            <a:off x="2352680" y="3505484"/>
            <a:ext cx="880586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Fiscal Year Considerations </a:t>
            </a:r>
            <a:r>
              <a:rPr lang="en-US" sz="2000" dirty="0"/>
              <a:t>– Districts with a September 1 fiscal year start date who shift to an earlier staff start date may face a doubled-up salary payment scenario. Switching fiscal year start dates to July 1 can help minimize impact if you are experiencing insufficient cash flow.</a:t>
            </a:r>
          </a:p>
        </p:txBody>
      </p:sp>
      <p:pic>
        <p:nvPicPr>
          <p:cNvPr id="12" name="Graphic 11" descr="Transfer with solid fill">
            <a:extLst>
              <a:ext uri="{FF2B5EF4-FFF2-40B4-BE49-F238E27FC236}">
                <a16:creationId xmlns:a16="http://schemas.microsoft.com/office/drawing/2014/main" id="{38FA20D2-F680-4D1C-7676-6B32DA941E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42980" y="5007115"/>
            <a:ext cx="914400" cy="91440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EF60369-2955-D733-F09E-1053398FD746}"/>
              </a:ext>
            </a:extLst>
          </p:cNvPr>
          <p:cNvSpPr txBox="1"/>
          <p:nvPr/>
        </p:nvSpPr>
        <p:spPr>
          <a:xfrm>
            <a:off x="2352680" y="5007115"/>
            <a:ext cx="901636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 dirty="0"/>
              <a:t>Attaching to Associated School Year </a:t>
            </a:r>
            <a:r>
              <a:rPr lang="en-US" sz="1800" dirty="0"/>
              <a:t>– Summer ADSY days can be associated with either the previous school year or the following school year. This impacts the grade levels a campus/LEA would invite to the </a:t>
            </a:r>
            <a:r>
              <a:rPr lang="en-US" sz="1800"/>
              <a:t>summer program.   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084860B-1B6F-4B78-A0C9-8E679D0D4E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37718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45C811B-3A76-43E5-83A7-6E4C6838D5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73148" y="2169994"/>
            <a:ext cx="2899972" cy="2343445"/>
          </a:xfrm>
        </p:spPr>
        <p:txBody>
          <a:bodyPr/>
          <a:lstStyle/>
          <a:p>
            <a:r>
              <a:rPr lang="en-US" sz="2800" dirty="0"/>
              <a:t>Implementation Trend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486A8-3C7E-4745-B2FD-36B4D2D3A48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416184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D49A12-192E-4208-8340-ACD9FD6AC3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Current ADSY Implementation Trends and Projection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934956F-D982-444B-94C9-0C444EBFA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B873A-B447-4FAD-8DCE-EE94BA9D21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Current ADSY Implementation Trends and Projections">
            <a:extLst>
              <a:ext uri="{FF2B5EF4-FFF2-40B4-BE49-F238E27FC236}">
                <a16:creationId xmlns:a16="http://schemas.microsoft.com/office/drawing/2014/main" id="{AA73EF21-E4E2-5ECA-3800-43D72BE75B6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557" y="1005263"/>
            <a:ext cx="11864318" cy="4947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4469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45C811B-3A76-43E5-83A7-6E4C6838D54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&amp;A 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91486A8-3C7E-4745-B2FD-36B4D2D3A48E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69C126A4-BD19-47E2-8A0E-0DE1B9D8C925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4" name="Google Shape;486;p60">
            <a:extLst>
              <a:ext uri="{FF2B5EF4-FFF2-40B4-BE49-F238E27FC236}">
                <a16:creationId xmlns:a16="http://schemas.microsoft.com/office/drawing/2014/main" id="{99BC4E33-8203-4342-9070-BFCA3000D664}"/>
              </a:ext>
            </a:extLst>
          </p:cNvPr>
          <p:cNvSpPr txBox="1"/>
          <p:nvPr/>
        </p:nvSpPr>
        <p:spPr>
          <a:xfrm>
            <a:off x="3789680" y="5173839"/>
            <a:ext cx="7030720" cy="64629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1800" i="1" dirty="0">
                <a:latin typeface="Calibri"/>
                <a:ea typeface="Calibri"/>
                <a:cs typeface="Calibri"/>
                <a:sym typeface="Calibri"/>
              </a:rPr>
              <a:t>For additional questions please visit </a:t>
            </a:r>
            <a:r>
              <a:rPr lang="en-US" sz="1800" i="1" dirty="0">
                <a:latin typeface="Calibri"/>
                <a:ea typeface="Calibri"/>
                <a:cs typeface="Calibri"/>
                <a:sym typeface="Calibri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tea.texas.gov/adsy</a:t>
            </a:r>
            <a:br>
              <a:rPr lang="en-US" sz="1800" i="1" dirty="0">
                <a:latin typeface="Calibri"/>
                <a:ea typeface="Calibri"/>
                <a:cs typeface="Calibri"/>
                <a:sym typeface="Calibri"/>
              </a:rPr>
            </a:br>
            <a:r>
              <a:rPr lang="en-US" sz="1800" i="1" dirty="0">
                <a:latin typeface="Calibri"/>
                <a:ea typeface="Calibri"/>
                <a:cs typeface="Calibri"/>
                <a:sym typeface="Calibri"/>
              </a:rPr>
              <a:t>or e-mail </a:t>
            </a:r>
            <a:r>
              <a:rPr lang="en-US" sz="1800" i="1" dirty="0"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dsy@tea.</a:t>
            </a:r>
            <a:r>
              <a:rPr lang="en-US" i="1" dirty="0"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t</a:t>
            </a:r>
            <a:r>
              <a:rPr lang="en-US" sz="1800" i="1" dirty="0">
                <a:latin typeface="Calibri"/>
                <a:ea typeface="Calibri"/>
                <a:cs typeface="Calibri"/>
                <a:sym typeface="Calibri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as.gov</a:t>
            </a:r>
            <a:endParaRPr sz="1800" i="1" dirty="0"/>
          </a:p>
        </p:txBody>
      </p:sp>
    </p:spTree>
    <p:extLst>
      <p:ext uri="{BB962C8B-B14F-4D97-AF65-F5344CB8AC3E}">
        <p14:creationId xmlns:p14="http://schemas.microsoft.com/office/powerpoint/2010/main" val="7446496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C425BE7-E686-483D-9094-407B29A949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743" y="102430"/>
            <a:ext cx="10964174" cy="751350"/>
          </a:xfrm>
        </p:spPr>
        <p:txBody>
          <a:bodyPr/>
          <a:lstStyle/>
          <a:p>
            <a:r>
              <a:rPr lang="en-US" dirty="0"/>
              <a:t>Agenda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B5D7A2-B205-45B4-9099-B9723E6930C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5743" y="989933"/>
            <a:ext cx="2696705" cy="4932611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Graphic 5" descr="Clipboard Checked with solid fill">
            <a:extLst>
              <a:ext uri="{FF2B5EF4-FFF2-40B4-BE49-F238E27FC236}">
                <a16:creationId xmlns:a16="http://schemas.microsoft.com/office/drawing/2014/main" id="{1D27E301-6586-4F3C-8938-AB10036033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77955" y="2245360"/>
            <a:ext cx="1732280" cy="1732280"/>
          </a:xfrm>
          <a:prstGeom prst="rect">
            <a:avLst/>
          </a:prstGeom>
        </p:spPr>
      </p:pic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C9D471-CFD0-4B16-A9AA-DB7CFFBF60CD}"/>
              </a:ext>
            </a:extLst>
          </p:cNvPr>
          <p:cNvSpPr txBox="1">
            <a:spLocks/>
          </p:cNvSpPr>
          <p:nvPr/>
        </p:nvSpPr>
        <p:spPr>
          <a:xfrm>
            <a:off x="3273691" y="1007460"/>
            <a:ext cx="8222566" cy="4814220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b="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Open Sans (Headings)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Tx/>
              <a:buChar char="◦"/>
              <a:defRPr sz="18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Open Sans Light" panose="020B0306030504020204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Additional Days School Year Overview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Design Considerations</a:t>
            </a:r>
          </a:p>
          <a:p>
            <a:pPr marL="1600200" lvl="2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400" dirty="0">
                <a:cs typeface="Calibri Light"/>
              </a:rPr>
              <a:t>Option 1: </a:t>
            </a:r>
            <a:r>
              <a:rPr lang="en-US" sz="2400" dirty="0">
                <a:solidFill>
                  <a:schemeClr val="accent3"/>
                </a:solidFill>
                <a:cs typeface="Calibri Light"/>
              </a:rPr>
              <a:t>Volunteer</a:t>
            </a:r>
            <a:r>
              <a:rPr lang="en-US" sz="2400" dirty="0">
                <a:cs typeface="Calibri Light"/>
              </a:rPr>
              <a:t> Summer Learning</a:t>
            </a:r>
          </a:p>
          <a:p>
            <a:pPr marL="1600200" lvl="2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400" dirty="0">
                <a:cs typeface="Calibri Light"/>
              </a:rPr>
              <a:t>Option 2: Intersessional Calendar</a:t>
            </a:r>
          </a:p>
          <a:p>
            <a:pPr marL="1600200" lvl="2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400" dirty="0">
                <a:cs typeface="Calibri Light"/>
              </a:rPr>
              <a:t>Option 3: Full Year Redesign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ADSY Planning and Execution Program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Budgeting Considerations 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Observed and Anticipated Implementation</a:t>
            </a:r>
          </a:p>
          <a:p>
            <a:pPr marL="1143000" lvl="1" indent="-457200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Font typeface="Wingdings" pitchFamily="2" charset="2"/>
              <a:buChar char="Ø"/>
            </a:pPr>
            <a:r>
              <a:rPr lang="en-US" sz="2800" dirty="0">
                <a:cs typeface="Calibri Light"/>
              </a:rPr>
              <a:t>Q&amp;A</a:t>
            </a:r>
          </a:p>
          <a:p>
            <a:endParaRPr lang="en-US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671B3FC5-C7B8-46EE-A2A6-6E3874A4CC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529126"/>
            <a:ext cx="2743200" cy="365125"/>
          </a:xfrm>
        </p:spPr>
        <p:txBody>
          <a:bodyPr/>
          <a:lstStyle/>
          <a:p>
            <a:fld id="{FF3B873A-B447-4FAD-8DCE-EE94BA9D2118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549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B768B-B9AD-DBA7-D3BF-F607029B7A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clining Achievement During Summer Break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AD5A03D-4D21-9D9B-5853-7BD3ED7E9B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4</a:t>
            </a:fld>
            <a:endParaRPr lang="en-US"/>
          </a:p>
        </p:txBody>
      </p:sp>
      <p:pic>
        <p:nvPicPr>
          <p:cNvPr id="4" name="Picture 3" descr="Chart to show years of learning for middle and low income students.">
            <a:extLst>
              <a:ext uri="{FF2B5EF4-FFF2-40B4-BE49-F238E27FC236}">
                <a16:creationId xmlns:a16="http://schemas.microsoft.com/office/drawing/2014/main" id="{B0EC7780-9201-E482-525D-A171D5C995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037899"/>
            <a:ext cx="12192000" cy="397520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153EA0B-6407-4FCD-E78D-1B6061DA0588}"/>
              </a:ext>
            </a:extLst>
          </p:cNvPr>
          <p:cNvSpPr txBox="1"/>
          <p:nvPr/>
        </p:nvSpPr>
        <p:spPr>
          <a:xfrm>
            <a:off x="219523" y="1168100"/>
            <a:ext cx="11807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2400" b="1" dirty="0">
                <a:solidFill>
                  <a:srgbClr val="5B9BD5"/>
                </a:solidFill>
                <a:cs typeface="Calibri" panose="020F0502020204030204" pitchFamily="34" charset="0"/>
              </a:rPr>
              <a:t>Student achievement levels drop during the summer months, commonly referred to as the “summer slide”.</a:t>
            </a:r>
          </a:p>
        </p:txBody>
      </p:sp>
    </p:spTree>
    <p:extLst>
      <p:ext uri="{BB962C8B-B14F-4D97-AF65-F5344CB8AC3E}">
        <p14:creationId xmlns:p14="http://schemas.microsoft.com/office/powerpoint/2010/main" val="193572576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2EC510F-9328-3561-3BBA-41A381FBC5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D6CB9"/>
                </a:solidFill>
                <a:effectLst/>
                <a:uLnTx/>
                <a:uFillTx/>
                <a:latin typeface="Calibri" panose="020F0502020204030204"/>
                <a:ea typeface="+mj-ea"/>
                <a:cs typeface="Calibri"/>
              </a:rPr>
              <a:t>COVID-19 Erased Years of Academic Gains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F8B646-EB68-89D2-BCC5-BBE66B0955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5</a:t>
            </a:fld>
            <a:endParaRPr lang="en-US"/>
          </a:p>
        </p:txBody>
      </p:sp>
      <p:pic>
        <p:nvPicPr>
          <p:cNvPr id="9" name="Picture 8" descr="Reading Stats">
            <a:extLst>
              <a:ext uri="{FF2B5EF4-FFF2-40B4-BE49-F238E27FC236}">
                <a16:creationId xmlns:a16="http://schemas.microsoft.com/office/drawing/2014/main" id="{7211A360-AECD-BF41-2FB7-6FB66F3B93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137" y="1144588"/>
            <a:ext cx="5686425" cy="4057650"/>
          </a:xfrm>
          <a:prstGeom prst="rect">
            <a:avLst/>
          </a:prstGeom>
        </p:spPr>
      </p:pic>
      <p:pic>
        <p:nvPicPr>
          <p:cNvPr id="11" name="Picture 10" descr="Math stats">
            <a:extLst>
              <a:ext uri="{FF2B5EF4-FFF2-40B4-BE49-F238E27FC236}">
                <a16:creationId xmlns:a16="http://schemas.microsoft.com/office/drawing/2014/main" id="{12380E5C-CB46-2112-F87F-52566BE3E6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52149" y="1125538"/>
            <a:ext cx="5524500" cy="407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98401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2B614A-40AD-7B84-003B-104BE98C25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5033" y="153230"/>
            <a:ext cx="11121657" cy="751350"/>
          </a:xfrm>
        </p:spPr>
        <p:txBody>
          <a:bodyPr>
            <a:normAutofit fontScale="90000"/>
          </a:bodyPr>
          <a:lstStyle/>
          <a:p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0D6CB9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Economically disadvantaged students experienced greater learning loss in both reading and math</a:t>
            </a:r>
            <a:endParaRPr lang="en-US" dirty="0"/>
          </a:p>
        </p:txBody>
      </p:sp>
      <p:pic>
        <p:nvPicPr>
          <p:cNvPr id="4" name="Picture 3" descr="Chart with economically disadvantaged students learning loss.">
            <a:extLst>
              <a:ext uri="{FF2B5EF4-FFF2-40B4-BE49-F238E27FC236}">
                <a16:creationId xmlns:a16="http://schemas.microsoft.com/office/drawing/2014/main" id="{83512E49-A53E-AE42-6240-906B47FD6F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963" y="904580"/>
            <a:ext cx="11295798" cy="5099791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3F25AE3-275F-1B5B-9CF7-595A4BD0CD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7A61B55-04D1-43A3-A468-E0382CAB50C0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17780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A6DD538-70C2-475A-BAA2-EF7A4AA447A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193679" y="4931650"/>
            <a:ext cx="11804642" cy="52322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non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srgbClr val="D93C1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Additional Days School Year program </a:t>
            </a:r>
            <a:r>
              <a:rPr kumimoji="0" lang="en-US" sz="28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s a key resource for COVID response</a:t>
            </a:r>
          </a:p>
        </p:txBody>
      </p:sp>
      <p:pic>
        <p:nvPicPr>
          <p:cNvPr id="1026" name="Picture 2" descr="Information on how to catch kids up with schools making significant changes.">
            <a:extLst>
              <a:ext uri="{FF2B5EF4-FFF2-40B4-BE49-F238E27FC236}">
                <a16:creationId xmlns:a16="http://schemas.microsoft.com/office/drawing/2014/main" id="{08374DB5-C144-4421-8C7B-95B066E0F9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7004" cy="4380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2341B83-E674-47FD-963C-CA7F255617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3B873A-B447-4FAD-8DCE-EE94BA9D211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6746158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0" name="Google Shape;470;p59"/>
          <p:cNvSpPr txBox="1">
            <a:spLocks noGrp="1"/>
          </p:cNvSpPr>
          <p:nvPr>
            <p:ph type="title"/>
          </p:nvPr>
        </p:nvSpPr>
        <p:spPr>
          <a:xfrm>
            <a:off x="612475" y="153230"/>
            <a:ext cx="10964100" cy="7512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Additional Days School Year (ADSY)</a:t>
            </a:r>
            <a:endParaRPr dirty="0"/>
          </a:p>
        </p:txBody>
      </p:sp>
      <p:sp>
        <p:nvSpPr>
          <p:cNvPr id="472" name="Google Shape;472;p59"/>
          <p:cNvSpPr txBox="1"/>
          <p:nvPr/>
        </p:nvSpPr>
        <p:spPr>
          <a:xfrm>
            <a:off x="43900" y="1186513"/>
            <a:ext cx="11883600" cy="15650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dirty="0">
                <a:solidFill>
                  <a:srgbClr val="595959"/>
                </a:solidFill>
              </a:rPr>
              <a:t>HB 3 added </a:t>
            </a:r>
            <a:r>
              <a:rPr lang="en-US" sz="2600" b="1" dirty="0">
                <a:solidFill>
                  <a:srgbClr val="70417F"/>
                </a:solidFill>
                <a:latin typeface="Calibri"/>
                <a:ea typeface="Calibri"/>
                <a:cs typeface="Calibri"/>
                <a:sym typeface="Calibri"/>
              </a:rPr>
              <a:t>half-day formula funding</a:t>
            </a:r>
            <a:r>
              <a:rPr lang="en-US" sz="2600" b="1" dirty="0">
                <a:solidFill>
                  <a:srgbClr val="70417F"/>
                </a:solidFill>
              </a:rPr>
              <a:t> </a:t>
            </a:r>
            <a:r>
              <a:rPr lang="en-US" sz="2600" dirty="0">
                <a:solidFill>
                  <a:srgbClr val="595959"/>
                </a:solidFill>
              </a:rPr>
              <a:t>for school systems that want to</a:t>
            </a:r>
            <a:endParaRPr sz="2600" dirty="0">
              <a:solidFill>
                <a:srgbClr val="595959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dirty="0">
                <a:solidFill>
                  <a:srgbClr val="595959"/>
                </a:solidFill>
              </a:rPr>
              <a:t>add instructional days (beyond a minimum 180 days, </a:t>
            </a:r>
            <a:r>
              <a:rPr lang="en-US" sz="2600" b="1" dirty="0">
                <a:solidFill>
                  <a:srgbClr val="70417F"/>
                </a:solidFill>
                <a:latin typeface="Calibri"/>
                <a:ea typeface="Calibri"/>
                <a:cs typeface="Calibri"/>
                <a:sym typeface="Calibri"/>
              </a:rPr>
              <a:t>up to 210 days</a:t>
            </a:r>
            <a:r>
              <a:rPr lang="en-US" sz="2600" dirty="0">
                <a:solidFill>
                  <a:srgbClr val="595959"/>
                </a:solidFill>
              </a:rPr>
              <a:t>)</a:t>
            </a:r>
            <a:endParaRPr sz="2600" dirty="0">
              <a:solidFill>
                <a:srgbClr val="595959"/>
              </a:solidFill>
            </a:endParaRPr>
          </a:p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600" dirty="0">
                <a:solidFill>
                  <a:srgbClr val="595959"/>
                </a:solidFill>
              </a:rPr>
              <a:t>to any of their elementary schools (grades </a:t>
            </a:r>
            <a:r>
              <a:rPr lang="en-US" sz="2600" b="1" dirty="0">
                <a:solidFill>
                  <a:srgbClr val="70417F"/>
                </a:solidFill>
                <a:latin typeface="Calibri"/>
                <a:ea typeface="Calibri"/>
                <a:cs typeface="Calibri"/>
                <a:sym typeface="Calibri"/>
              </a:rPr>
              <a:t>PK-5</a:t>
            </a:r>
            <a:r>
              <a:rPr lang="en-US" sz="2600" dirty="0">
                <a:solidFill>
                  <a:srgbClr val="595959"/>
                </a:solidFill>
              </a:rPr>
              <a:t>).</a:t>
            </a:r>
            <a:endParaRPr sz="2600" dirty="0">
              <a:solidFill>
                <a:srgbClr val="595959"/>
              </a:solidFill>
            </a:endParaRPr>
          </a:p>
        </p:txBody>
      </p:sp>
      <p:sp>
        <p:nvSpPr>
          <p:cNvPr id="473" name="Google Shape;473;p59"/>
          <p:cNvSpPr txBox="1"/>
          <p:nvPr/>
        </p:nvSpPr>
        <p:spPr>
          <a:xfrm>
            <a:off x="2631030" y="2983075"/>
            <a:ext cx="47511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5B9BD5"/>
                </a:solidFill>
                <a:latin typeface="Calibri"/>
                <a:ea typeface="Calibri"/>
                <a:cs typeface="Calibri"/>
                <a:sym typeface="Calibri"/>
              </a:rPr>
              <a:t>Minimum 180 Instructional Days</a:t>
            </a:r>
            <a:endParaRPr sz="2400" b="1">
              <a:solidFill>
                <a:srgbClr val="5B9BD5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5" name="Google Shape;475;p59"/>
          <p:cNvSpPr txBox="1"/>
          <p:nvPr/>
        </p:nvSpPr>
        <p:spPr>
          <a:xfrm>
            <a:off x="8281955" y="3052825"/>
            <a:ext cx="34017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400" b="1">
                <a:solidFill>
                  <a:srgbClr val="70417F"/>
                </a:solidFill>
                <a:latin typeface="Calibri"/>
                <a:ea typeface="Calibri"/>
                <a:cs typeface="Calibri"/>
                <a:sym typeface="Calibri"/>
              </a:rPr>
              <a:t>Up to 30 Additional Days</a:t>
            </a:r>
            <a:endParaRPr sz="2400" b="1">
              <a:solidFill>
                <a:srgbClr val="7041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74" name="Google Shape;474;p5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095243" y="3537163"/>
            <a:ext cx="9686925" cy="2105025"/>
          </a:xfrm>
          <a:prstGeom prst="rect">
            <a:avLst/>
          </a:prstGeom>
          <a:noFill/>
          <a:ln>
            <a:noFill/>
          </a:ln>
        </p:spPr>
      </p:pic>
      <p:sp>
        <p:nvSpPr>
          <p:cNvPr id="476" name="Google Shape;476;p59"/>
          <p:cNvSpPr txBox="1"/>
          <p:nvPr/>
        </p:nvSpPr>
        <p:spPr>
          <a:xfrm>
            <a:off x="6636105" y="4915800"/>
            <a:ext cx="3000000" cy="44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700" b="1">
                <a:solidFill>
                  <a:srgbClr val="70417F"/>
                </a:solidFill>
                <a:latin typeface="Calibri"/>
                <a:ea typeface="Calibri"/>
                <a:cs typeface="Calibri"/>
                <a:sym typeface="Calibri"/>
              </a:rPr>
              <a:t>Half-day formula funding</a:t>
            </a:r>
            <a:endParaRPr sz="1700" b="1">
              <a:solidFill>
                <a:srgbClr val="70417F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71" name="Google Shape;471;p59"/>
          <p:cNvSpPr txBox="1">
            <a:spLocks noGrp="1"/>
          </p:cNvSpPr>
          <p:nvPr>
            <p:ph type="sldNum" idx="12"/>
          </p:nvPr>
        </p:nvSpPr>
        <p:spPr>
          <a:xfrm>
            <a:off x="9210675" y="6529126"/>
            <a:ext cx="2743200" cy="365100"/>
          </a:xfrm>
          <a:prstGeom prst="rect">
            <a:avLst/>
          </a:prstGeom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8</a:t>
            </a:fld>
            <a:endParaRPr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5AFC4E3-CA01-4827-8925-A4D0EC721F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SY Eligibility</a:t>
            </a:r>
          </a:p>
        </p:txBody>
      </p:sp>
      <p:pic>
        <p:nvPicPr>
          <p:cNvPr id="12" name="Graphic 11" descr="Children with solid fill">
            <a:extLst>
              <a:ext uri="{FF2B5EF4-FFF2-40B4-BE49-F238E27FC236}">
                <a16:creationId xmlns:a16="http://schemas.microsoft.com/office/drawing/2014/main" id="{1C489BDC-4B3C-4252-9F7E-B918B788F82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9658" y="788105"/>
            <a:ext cx="731520" cy="731520"/>
          </a:xfrm>
          <a:prstGeom prst="rect">
            <a:avLst/>
          </a:prstGeom>
        </p:spPr>
      </p:pic>
      <p:pic>
        <p:nvPicPr>
          <p:cNvPr id="7" name="Graphic 6" descr="Monthly calendar with solid fill">
            <a:extLst>
              <a:ext uri="{FF2B5EF4-FFF2-40B4-BE49-F238E27FC236}">
                <a16:creationId xmlns:a16="http://schemas.microsoft.com/office/drawing/2014/main" id="{97266C5B-81CB-4BAD-8DFB-0F5D401B2EF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9658" y="1670731"/>
            <a:ext cx="731520" cy="731520"/>
          </a:xfrm>
          <a:prstGeom prst="rect">
            <a:avLst/>
          </a:prstGeom>
        </p:spPr>
      </p:pic>
      <p:pic>
        <p:nvPicPr>
          <p:cNvPr id="8" name="Graphic 7" descr="Clock with solid fill">
            <a:extLst>
              <a:ext uri="{FF2B5EF4-FFF2-40B4-BE49-F238E27FC236}">
                <a16:creationId xmlns:a16="http://schemas.microsoft.com/office/drawing/2014/main" id="{F5A5849C-D36E-4841-B150-9BCEDF60F45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9658" y="2767458"/>
            <a:ext cx="731520" cy="731520"/>
          </a:xfrm>
          <a:prstGeom prst="rect">
            <a:avLst/>
          </a:prstGeom>
        </p:spPr>
      </p:pic>
      <p:pic>
        <p:nvPicPr>
          <p:cNvPr id="9" name="Graphic 8" descr="Harvey Balls 50% with solid fill">
            <a:extLst>
              <a:ext uri="{FF2B5EF4-FFF2-40B4-BE49-F238E27FC236}">
                <a16:creationId xmlns:a16="http://schemas.microsoft.com/office/drawing/2014/main" id="{C83D923E-50EB-4275-9C9C-E2791B5F0C0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39658" y="3595782"/>
            <a:ext cx="731520" cy="731520"/>
          </a:xfrm>
          <a:prstGeom prst="rect">
            <a:avLst/>
          </a:prstGeom>
        </p:spPr>
      </p:pic>
      <p:pic>
        <p:nvPicPr>
          <p:cNvPr id="10" name="Graphic 9" descr="Classroom with solid fill">
            <a:extLst>
              <a:ext uri="{FF2B5EF4-FFF2-40B4-BE49-F238E27FC236}">
                <a16:creationId xmlns:a16="http://schemas.microsoft.com/office/drawing/2014/main" id="{E189ED72-3952-4F48-B68F-5F525686975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39658" y="4604627"/>
            <a:ext cx="731520" cy="618452"/>
          </a:xfrm>
          <a:prstGeom prst="rect">
            <a:avLst/>
          </a:prstGeom>
        </p:spPr>
      </p:pic>
      <p:pic>
        <p:nvPicPr>
          <p:cNvPr id="11" name="Graphic 10" descr="Settings with solid fill">
            <a:extLst>
              <a:ext uri="{FF2B5EF4-FFF2-40B4-BE49-F238E27FC236}">
                <a16:creationId xmlns:a16="http://schemas.microsoft.com/office/drawing/2014/main" id="{04D904C0-C50C-47B2-BC91-FCED907344B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39658" y="5342663"/>
            <a:ext cx="731520" cy="731520"/>
          </a:xfrm>
          <a:prstGeom prst="rect">
            <a:avLst/>
          </a:prstGeom>
        </p:spPr>
      </p:pic>
      <p:sp>
        <p:nvSpPr>
          <p:cNvPr id="6" name="Rectangle 8">
            <a:extLst>
              <a:ext uri="{FF2B5EF4-FFF2-40B4-BE49-F238E27FC236}">
                <a16:creationId xmlns:a16="http://schemas.microsoft.com/office/drawing/2014/main" id="{48C03C1D-73A7-4833-A9B9-AE47458693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83234" y="824078"/>
            <a:ext cx="9603959" cy="51090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cs typeface="Arial"/>
              </a:rPr>
              <a:t>Serve at least one grade level within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cs typeface="Arial"/>
              </a:rPr>
              <a:t>grades PreK-5</a:t>
            </a:r>
            <a:endParaRPr lang="en-US" altLang="en-US" sz="2200" b="1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anose="020B0604020202020204" pitchFamily="34" charset="0"/>
            </a:endParaRPr>
          </a:p>
          <a:p>
            <a:r>
              <a:rPr lang="en-US" altLang="en-US" sz="2200" dirty="0">
                <a:solidFill>
                  <a:srgbClr val="4472C4"/>
                </a:solidFill>
                <a:latin typeface="+mn-lt"/>
                <a:ea typeface="Calibri" panose="020F0502020204030204" pitchFamily="34" charset="0"/>
                <a:cs typeface="Arial"/>
              </a:rPr>
              <a:t>Ensure the</a:t>
            </a:r>
            <a:r>
              <a:rPr lang="en-US" altLang="en-US" sz="2200" b="1" dirty="0">
                <a:solidFill>
                  <a:srgbClr val="4472C4"/>
                </a:solidFill>
                <a:latin typeface="+mn-lt"/>
                <a:ea typeface="Calibri" panose="020F0502020204030204" pitchFamily="34" charset="0"/>
                <a:cs typeface="Arial"/>
              </a:rPr>
              <a:t> campus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academic calendar </a:t>
            </a:r>
            <a:r>
              <a:rPr lang="en-US" altLang="en-US" sz="2200" b="1" dirty="0">
                <a:solidFill>
                  <a:srgbClr val="4472C4"/>
                </a:solidFill>
                <a:latin typeface="+mn-lt"/>
                <a:ea typeface="Calibri" panose="020F0502020204030204" pitchFamily="34" charset="0"/>
                <a:cs typeface="Arial"/>
              </a:rPr>
              <a:t>will have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at least 180 instructional days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, not including staff development waivers; ideal calendars also have two bad-weather make-up days identified</a:t>
            </a:r>
            <a:endParaRPr lang="en-US" altLang="en-US" sz="2200" b="0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Char char="•"/>
              <a:tabLst/>
            </a:pP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anose="020B0604020202020204" pitchFamily="34" charset="0"/>
            </a:endParaRPr>
          </a:p>
          <a:p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Have a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campus academic calendar with at least 75,600 </a:t>
            </a:r>
            <a:r>
              <a:rPr lang="en-US" altLang="en-US" sz="2200" b="1" dirty="0">
                <a:solidFill>
                  <a:srgbClr val="4472C4"/>
                </a:solidFill>
                <a:latin typeface="+mn-lt"/>
                <a:ea typeface="Calibri" panose="020F0502020204030204" pitchFamily="34" charset="0"/>
                <a:cs typeface="Arial"/>
              </a:rPr>
              <a:t>operational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minutes</a:t>
            </a:r>
            <a:endParaRPr lang="en-US" altLang="en-US" sz="2200" b="1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Be willing to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add up to 30 additional half days of instruction 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(ADSY days) to the 180 instructional days in a campus’s academic calendar</a:t>
            </a:r>
            <a:endParaRPr lang="en-US" altLang="en-US" sz="2200" b="0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Have a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certified teacher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deliver at least two hours of instruction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on dedicated ADSY days</a:t>
            </a:r>
            <a:endParaRPr lang="en-US" altLang="en-US" sz="2200" b="0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endParaRPr kumimoji="0" lang="en-US" altLang="en-US" b="0" i="0" u="none" strike="noStrike" cap="none" normalizeH="0" baseline="0" dirty="0">
              <a:ln>
                <a:noFill/>
              </a:ln>
              <a:solidFill>
                <a:srgbClr val="4472C4"/>
              </a:solidFill>
              <a:effectLst/>
              <a:latin typeface="+mn-lt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Host </a:t>
            </a:r>
            <a:r>
              <a:rPr kumimoji="0" lang="en-US" altLang="en-US" sz="2200" b="1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ADSY days on separate days</a:t>
            </a:r>
            <a:r>
              <a:rPr kumimoji="0" lang="en-US" altLang="en-US" sz="2200" b="0" i="0" u="none" strike="noStrike" cap="none" normalizeH="0" baseline="0" dirty="0">
                <a:ln>
                  <a:noFill/>
                </a:ln>
                <a:solidFill>
                  <a:srgbClr val="4472C4"/>
                </a:solidFill>
                <a:effectLst/>
                <a:latin typeface="+mn-lt"/>
                <a:ea typeface="Calibri" panose="020F0502020204030204" pitchFamily="34" charset="0"/>
                <a:cs typeface="Arial"/>
              </a:rPr>
              <a:t> from regular instructional calendar days</a:t>
            </a:r>
            <a:endParaRPr kumimoji="0" lang="en-US" altLang="en-US" sz="2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CDD3914-AC4F-4866-899E-B8330867A2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3B873A-B447-4FAD-8DCE-EE94BA9D21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971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Light_option" id="{6F1FE863-83B4-4866-B719-DE25AC78EEBC}" vid="{51F349BD-1C43-4027-BF50-E2EAF8C686DF}"/>
    </a:ext>
  </a:extLst>
</a:theme>
</file>

<file path=ppt/theme/theme2.xml><?xml version="1.0" encoding="utf-8"?>
<a:theme xmlns:a="http://schemas.openxmlformats.org/drawingml/2006/main" name="3_Office Format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00"/>
        </a:solidFill>
        <a:ln>
          <a:noFill/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A_Presentation_Template_Light_option" id="{6F1FE863-83B4-4866-B719-DE25AC78EEBC}" vid="{51F349BD-1C43-4027-BF50-E2EAF8C686DF}"/>
    </a:ext>
  </a:extLst>
</a:theme>
</file>

<file path=ppt/theme/theme4.xml><?xml version="1.0" encoding="utf-8"?>
<a:theme xmlns:a="http://schemas.openxmlformats.org/drawingml/2006/main" name="4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4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CF0D7F3F-B121-413F-AF68-5F12358EDFE4}" vid="{39A9C175-9B9C-4854-8C4B-695C4BAA07A9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BE4C68E97640479F3D791B3E26A918" ma:contentTypeVersion="9" ma:contentTypeDescription="Create a new document." ma:contentTypeScope="" ma:versionID="e6b2f02822055de33514714c5681e253">
  <xsd:schema xmlns:xsd="http://www.w3.org/2001/XMLSchema" xmlns:xs="http://www.w3.org/2001/XMLSchema" xmlns:p="http://schemas.microsoft.com/office/2006/metadata/properties" xmlns:ns2="963efe96-9f3c-464d-8c8b-c76864a22ed0" xmlns:ns3="533e3360-6378-4210-ada2-16ccdb17d2cd" targetNamespace="http://schemas.microsoft.com/office/2006/metadata/properties" ma:root="true" ma:fieldsID="c39b5a19f8d5a3b3f970603ec1ec5742" ns2:_="" ns3:_="">
    <xsd:import namespace="963efe96-9f3c-464d-8c8b-c76864a22ed0"/>
    <xsd:import namespace="533e3360-6378-4210-ada2-16ccdb17d2c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3efe96-9f3c-464d-8c8b-c76864a22ed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33e3360-6378-4210-ada2-16ccdb17d2c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FF11B2C-5937-4D72-978D-BA5B4247FF0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3efe96-9f3c-464d-8c8b-c76864a22ed0"/>
    <ds:schemaRef ds:uri="533e3360-6378-4210-ada2-16ccdb17d2c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19692CD-7339-4E15-8B85-65EB8EAE7D52}">
  <ds:schemaRefs>
    <ds:schemaRef ds:uri="http://purl.org/dc/elements/1.1/"/>
    <ds:schemaRef ds:uri="50bea747-0549-4fa5-b568-8eb9823dfb48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4e5874fa-d0ef-44ad-85dd-d467335310e7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D438415F-CA52-4AC6-B74C-FE95CEB90D1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828</TotalTime>
  <Words>1149</Words>
  <Application>Microsoft Office PowerPoint</Application>
  <PresentationFormat>Widescreen</PresentationFormat>
  <Paragraphs>192</Paragraphs>
  <Slides>2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9" baseType="lpstr">
      <vt:lpstr>Arial</vt:lpstr>
      <vt:lpstr>Calibri</vt:lpstr>
      <vt:lpstr>Calibri Light</vt:lpstr>
      <vt:lpstr>Courier New</vt:lpstr>
      <vt:lpstr>Noto Sans Symbols</vt:lpstr>
      <vt:lpstr>Open Sans</vt:lpstr>
      <vt:lpstr>Open Sans (Headings)</vt:lpstr>
      <vt:lpstr>Open Sans Light</vt:lpstr>
      <vt:lpstr>Open Sans Semibold</vt:lpstr>
      <vt:lpstr>Wingdings</vt:lpstr>
      <vt:lpstr>2_Office Theme</vt:lpstr>
      <vt:lpstr>3_Office Format</vt:lpstr>
      <vt:lpstr>3_Office Theme</vt:lpstr>
      <vt:lpstr>4_TEA Main Slide</vt:lpstr>
      <vt:lpstr>4_Office Theme</vt:lpstr>
      <vt:lpstr>think-cell Slide</vt:lpstr>
      <vt:lpstr>Additional Days School Year Overview August 3, 2022</vt:lpstr>
      <vt:lpstr>Key TEA Personnel</vt:lpstr>
      <vt:lpstr>Agenda</vt:lpstr>
      <vt:lpstr>Declining Achievement During Summer Breaks</vt:lpstr>
      <vt:lpstr>COVID-19 Erased Years of Academic Gains</vt:lpstr>
      <vt:lpstr>Economically disadvantaged students experienced greater learning loss in both reading and math</vt:lpstr>
      <vt:lpstr>The Additional Days School Year program is a key resource for COVID response</vt:lpstr>
      <vt:lpstr>Additional Days School Year (ADSY)</vt:lpstr>
      <vt:lpstr>ADSY Eligibility</vt:lpstr>
      <vt:lpstr>ADSY Design Considerations</vt:lpstr>
      <vt:lpstr>Summer Program Example</vt:lpstr>
      <vt:lpstr>Intersessional Calendar Example</vt:lpstr>
      <vt:lpstr>Full Year Redesign Calendar Example</vt:lpstr>
      <vt:lpstr>ADSY Planning and Execution Program</vt:lpstr>
      <vt:lpstr>ADSY Planning and Execution Program cont.</vt:lpstr>
      <vt:lpstr>ADSY PEP Components</vt:lpstr>
      <vt:lpstr>Budgeting for Summer Learning</vt:lpstr>
      <vt:lpstr>Budgeting Tools - Most Common Sources of Summer Funding</vt:lpstr>
      <vt:lpstr>Example: Stacking ADSY with 21st CCLC Funds</vt:lpstr>
      <vt:lpstr>Fiscal Timeline Considerations</vt:lpstr>
      <vt:lpstr>Implementation Trends</vt:lpstr>
      <vt:lpstr>Current ADSY Implementation Trends and Projections</vt:lpstr>
      <vt:lpstr>Q&amp;A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ER Big Questions</dc:title>
  <dc:creator>Catlett, Emma</dc:creator>
  <cp:lastModifiedBy>Ollervidez, Leticia</cp:lastModifiedBy>
  <cp:revision>126</cp:revision>
  <dcterms:created xsi:type="dcterms:W3CDTF">2020-11-13T22:49:34Z</dcterms:created>
  <dcterms:modified xsi:type="dcterms:W3CDTF">2022-07-29T15:34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BE4C68E97640479F3D791B3E26A918</vt:lpwstr>
  </property>
</Properties>
</file>